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D56F1_A562A8A7.xml" ContentType="application/vnd.ms-powerpoint.comment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17.xml" ContentType="application/vnd.openxmlformats-officedocument.presentationml.tags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73" r:id="rId5"/>
    <p:sldMasterId id="2147483686" r:id="rId6"/>
    <p:sldMasterId id="2147483698" r:id="rId7"/>
  </p:sldMasterIdLst>
  <p:notesMasterIdLst>
    <p:notesMasterId r:id="rId36"/>
  </p:notesMasterIdLst>
  <p:sldIdLst>
    <p:sldId id="256" r:id="rId8"/>
    <p:sldId id="263" r:id="rId9"/>
    <p:sldId id="5196" r:id="rId10"/>
    <p:sldId id="2147309254" r:id="rId11"/>
    <p:sldId id="2147309296" r:id="rId12"/>
    <p:sldId id="2147309297" r:id="rId13"/>
    <p:sldId id="265" r:id="rId14"/>
    <p:sldId id="504" r:id="rId15"/>
    <p:sldId id="505" r:id="rId16"/>
    <p:sldId id="506" r:id="rId17"/>
    <p:sldId id="2147309302" r:id="rId18"/>
    <p:sldId id="2147309303" r:id="rId19"/>
    <p:sldId id="2147309304" r:id="rId20"/>
    <p:sldId id="2147309305" r:id="rId21"/>
    <p:sldId id="269" r:id="rId22"/>
    <p:sldId id="6883" r:id="rId23"/>
    <p:sldId id="6917" r:id="rId24"/>
    <p:sldId id="2147309264" r:id="rId25"/>
    <p:sldId id="2147309267" r:id="rId26"/>
    <p:sldId id="2147309300" r:id="rId27"/>
    <p:sldId id="262" r:id="rId28"/>
    <p:sldId id="2147309270" r:id="rId29"/>
    <p:sldId id="2147309271" r:id="rId30"/>
    <p:sldId id="2147309177" r:id="rId31"/>
    <p:sldId id="2147309179" r:id="rId32"/>
    <p:sldId id="2147309293" r:id="rId33"/>
    <p:sldId id="2147309178" r:id="rId34"/>
    <p:sldId id="667" r:id="rId35"/>
  </p:sldIdLst>
  <p:sldSz cx="9144000" cy="5143500" type="screen16x9"/>
  <p:notesSz cx="6797675" cy="9926638"/>
  <p:custDataLst>
    <p:tags r:id="rId37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263"/>
            <p14:sldId id="5196"/>
            <p14:sldId id="2147309254"/>
            <p14:sldId id="2147309296"/>
            <p14:sldId id="2147309297"/>
            <p14:sldId id="265"/>
            <p14:sldId id="504"/>
            <p14:sldId id="505"/>
            <p14:sldId id="506"/>
            <p14:sldId id="2147309302"/>
            <p14:sldId id="2147309303"/>
            <p14:sldId id="2147309304"/>
            <p14:sldId id="2147309305"/>
            <p14:sldId id="269"/>
            <p14:sldId id="6883"/>
            <p14:sldId id="6917"/>
            <p14:sldId id="2147309264"/>
            <p14:sldId id="2147309267"/>
            <p14:sldId id="2147309300"/>
            <p14:sldId id="262"/>
            <p14:sldId id="2147309270"/>
            <p14:sldId id="2147309271"/>
            <p14:sldId id="2147309177"/>
            <p14:sldId id="2147309179"/>
            <p14:sldId id="2147309293"/>
            <p14:sldId id="2147309178"/>
            <p14:sldId id="6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1C9E5A34-1AB0-E33C-2540-D7DFE8F33E29}" name="Christina" initials="C" userId="Christina" providerId="None"/>
  <p188:author id="{8F6F75C1-6721-C487-7EAA-C8CB98A4F5C0}" name="Terje Ruud" initials="TR" userId="S::terjru@ntnu.no::80210fc6-dbb7-49cc-ba3b-9524c1a7b20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356E"/>
    <a:srgbClr val="00509E"/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5065073-59E4-430E-BB30-AA509AB324C1}" v="44" dt="2022-09-21T11:35:00.264"/>
    <p1510:client id="{5FC831E8-745F-45EC-B6E7-BFEE325DF028}" v="1740" dt="2022-09-21T06:31:01.453"/>
    <p1510:client id="{98F4C900-67BE-426C-BAF2-A23EEE12A456}" v="1312" dt="2022-09-21T10:20:54.403"/>
    <p1510:client id="{A9BD95B4-92D6-466B-82F1-E40CF0D3477C}" v="654" vWet="684" dt="2022-09-21T06:51:03.32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2" d="100"/>
          <a:sy n="142" d="100"/>
        </p:scale>
        <p:origin x="714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microsoft.com/office/2018/10/relationships/authors" Target="authors.xml"/></Relationships>
</file>

<file path=ppt/comments/modernComment_7FFD56F1_A562A8A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502230E-3C81-422E-868E-0674556298A6}" authorId="{2273F832-6C13-68EF-6B7B-ABA9C5EDE550}" created="2022-09-20T08:11:23.814">
    <pc:sldMkLst xmlns:pc="http://schemas.microsoft.com/office/powerpoint/2013/main/command">
      <pc:docMk/>
      <pc:sldMk cId="2774706343" sldId="2147309297"/>
    </pc:sldMkLst>
    <p188:replyLst>
      <p188:reply id="{322D5ECA-5F5A-4719-9B7A-589F7215B4FB}" authorId="{1C9E5A34-1AB0-E33C-2540-D7DFE8F33E29}" created="2022-09-20T11:22:01.805">
        <p188:txBody>
          <a:bodyPr/>
          <a:lstStyle/>
          <a:p>
            <a:r>
              <a:rPr lang="nb-NO"/>
              <a:t>Enig! Endrer
</a:t>
            </a:r>
          </a:p>
        </p188:txBody>
      </p188:reply>
    </p188:replyLst>
    <p188:txBody>
      <a:bodyPr/>
      <a:lstStyle/>
      <a:p>
        <a:r>
          <a:rPr lang="nb-NO"/>
          <a:t>Skal vi endre rekkefølge her og (dvs prosess for opplæring?)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6899751-E627-443E-86C2-E1F8E53D452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9EFFB27-0EB2-416B-AC91-600A41FCF8BE}">
      <dgm:prSet phldrT="[Text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nb-NO" sz="1200" b="1">
              <a:solidFill>
                <a:schemeClr val="bg1"/>
              </a:solidFill>
            </a:rPr>
            <a:t>Opplæringsplan</a:t>
          </a:r>
        </a:p>
        <a:p>
          <a:endParaRPr lang="nb-NO" sz="1200" b="1">
            <a:solidFill>
              <a:schemeClr val="bg1"/>
            </a:solidFill>
          </a:endParaRPr>
        </a:p>
        <a:p>
          <a:endParaRPr lang="nb-NO" sz="1200" b="1">
            <a:solidFill>
              <a:schemeClr val="bg1"/>
            </a:solidFill>
          </a:endParaRPr>
        </a:p>
      </dgm:t>
    </dgm:pt>
    <dgm:pt modelId="{DDC05AC6-6FDE-45D5-B6D0-91F63CFA3D0B}" type="parTrans" cxnId="{5EB6997E-2515-4492-9ED9-DD997A465287}">
      <dgm:prSet/>
      <dgm:spPr/>
      <dgm:t>
        <a:bodyPr/>
        <a:lstStyle/>
        <a:p>
          <a:endParaRPr lang="nb-NO" sz="1200"/>
        </a:p>
      </dgm:t>
    </dgm:pt>
    <dgm:pt modelId="{7D514737-E564-49EC-B82C-C49065456AFE}" type="sibTrans" cxnId="{5EB6997E-2515-4492-9ED9-DD997A465287}">
      <dgm:prSet/>
      <dgm:spPr/>
      <dgm:t>
        <a:bodyPr/>
        <a:lstStyle/>
        <a:p>
          <a:endParaRPr lang="nb-NO" sz="1200"/>
        </a:p>
      </dgm:t>
    </dgm:pt>
    <dgm:pt modelId="{A0E0BC68-5B44-44FC-9DDD-9A5AFD158759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  <a:buNone/>
          </a:pPr>
          <a:endParaRPr lang="nb-NO" sz="1200"/>
        </a:p>
        <a:p>
          <a:pPr>
            <a:lnSpc>
              <a:spcPct val="90000"/>
            </a:lnSpc>
            <a:spcAft>
              <a:spcPct val="35000"/>
            </a:spcAft>
            <a:buNone/>
          </a:pPr>
          <a:r>
            <a:rPr lang="nb-NO" sz="1200" b="1"/>
            <a:t>Brukerstøtte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Ekstra brukerstøtte ved oppstart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Teams-rom/ kanaler for utvalgte roller 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Nettsider</a:t>
          </a:r>
        </a:p>
        <a:p>
          <a:pPr>
            <a:lnSpc>
              <a:spcPct val="100000"/>
            </a:lnSpc>
            <a:spcAft>
              <a:spcPts val="0"/>
            </a:spcAft>
            <a:buFont typeface="Arial" panose="020B0604020202020204" pitchFamily="34" charset="0"/>
            <a:buChar char="•"/>
          </a:pPr>
          <a:r>
            <a:rPr lang="nb-NO" sz="1200"/>
            <a:t>- Mulighet for </a:t>
          </a:r>
          <a:r>
            <a:rPr lang="nb-NO" sz="1200" err="1"/>
            <a:t>webinarer</a:t>
          </a:r>
          <a:r>
            <a:rPr lang="nb-NO" sz="1200"/>
            <a:t> for utvalgte tema</a:t>
          </a:r>
        </a:p>
      </dgm:t>
    </dgm:pt>
    <dgm:pt modelId="{EDA9A6F0-DCBB-4DA8-9FF3-1738EE242D9C}" type="parTrans" cxnId="{4E76275F-998F-4C50-813D-EBB38F6E743A}">
      <dgm:prSet/>
      <dgm:spPr/>
      <dgm:t>
        <a:bodyPr/>
        <a:lstStyle/>
        <a:p>
          <a:endParaRPr lang="nb-NO" sz="1200"/>
        </a:p>
      </dgm:t>
    </dgm:pt>
    <dgm:pt modelId="{F8BBE20C-11CE-4858-85E6-8D8C11B01E73}" type="sibTrans" cxnId="{4E76275F-998F-4C50-813D-EBB38F6E743A}">
      <dgm:prSet/>
      <dgm:spPr/>
      <dgm:t>
        <a:bodyPr/>
        <a:lstStyle/>
        <a:p>
          <a:endParaRPr lang="nb-NO" sz="1200"/>
        </a:p>
      </dgm:t>
    </dgm:pt>
    <dgm:pt modelId="{ACB6EBE2-8678-4135-983A-A50260ADE38B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endParaRPr lang="nb-NO" sz="1200"/>
        </a:p>
        <a:p>
          <a:endParaRPr lang="nb-NO" sz="1200"/>
        </a:p>
        <a:p>
          <a:r>
            <a:rPr lang="nb-NO" sz="1200" b="1"/>
            <a:t>NTNU Spesifikt</a:t>
          </a:r>
        </a:p>
        <a:p>
          <a:r>
            <a:rPr lang="nb-NO" sz="1200"/>
            <a:t>- NTNU Kurs før og etter DFØ systemopplæring</a:t>
          </a:r>
        </a:p>
        <a:p>
          <a:r>
            <a:rPr lang="nb-NO" sz="1200" b="0">
              <a:latin typeface="Arial" panose="020B0604020202020204"/>
            </a:rPr>
            <a:t>- Informasjonsmøter og </a:t>
          </a:r>
          <a:r>
            <a:rPr lang="nb-NO" sz="1200" b="0" err="1">
              <a:latin typeface="Arial" panose="020B0604020202020204"/>
            </a:rPr>
            <a:t>webinarer</a:t>
          </a:r>
          <a:r>
            <a:rPr lang="nb-NO" sz="1200" b="0">
              <a:latin typeface="Arial" panose="020B0604020202020204"/>
            </a:rPr>
            <a:t> om spesielle tema</a:t>
          </a:r>
        </a:p>
        <a:p>
          <a:endParaRPr lang="nb-NO" sz="1200" b="0">
            <a:latin typeface="Arial" panose="020B0604020202020204"/>
          </a:endParaRPr>
        </a:p>
        <a:p>
          <a:endParaRPr lang="nb-NO" sz="1200" b="0">
            <a:latin typeface="Arial" panose="020B0604020202020204"/>
          </a:endParaRPr>
        </a:p>
      </dgm:t>
    </dgm:pt>
    <dgm:pt modelId="{14E0E4D6-713C-4368-BBA4-48B82212E626}" type="parTrans" cxnId="{6ACC1866-D71F-4F59-ADA9-6F6E6720F719}">
      <dgm:prSet/>
      <dgm:spPr/>
      <dgm:t>
        <a:bodyPr/>
        <a:lstStyle/>
        <a:p>
          <a:endParaRPr lang="nb-NO" sz="1200"/>
        </a:p>
      </dgm:t>
    </dgm:pt>
    <dgm:pt modelId="{DBDD4AFB-E753-4B96-B280-EFD60741C05C}" type="sibTrans" cxnId="{6ACC1866-D71F-4F59-ADA9-6F6E6720F719}">
      <dgm:prSet/>
      <dgm:spPr/>
      <dgm:t>
        <a:bodyPr/>
        <a:lstStyle/>
        <a:p>
          <a:endParaRPr lang="nb-NO" sz="1200"/>
        </a:p>
      </dgm:t>
    </dgm:pt>
    <dgm:pt modelId="{6E13336A-1061-4597-829A-457963054662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lnSpc>
              <a:spcPct val="90000"/>
            </a:lnSpc>
            <a:spcAft>
              <a:spcPct val="35000"/>
            </a:spcAft>
          </a:pPr>
          <a:r>
            <a:rPr lang="nb-NO" sz="1200" b="1"/>
            <a:t>DFØ Systemopplæring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Webinarer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nb-NO" sz="1200" b="0"/>
            <a:t>- Trykkekurs for noen roller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nb-NO" sz="1200"/>
        </a:p>
      </dgm:t>
    </dgm:pt>
    <dgm:pt modelId="{0F6F06C4-C879-4D38-A2F6-C248597D04B8}" type="parTrans" cxnId="{A0B73495-747A-4C3F-A337-3E262EE9F610}">
      <dgm:prSet/>
      <dgm:spPr/>
      <dgm:t>
        <a:bodyPr/>
        <a:lstStyle/>
        <a:p>
          <a:endParaRPr lang="nb-NO" sz="1200"/>
        </a:p>
      </dgm:t>
    </dgm:pt>
    <dgm:pt modelId="{C5353622-0F71-47C8-845F-B9F64907EAA9}" type="sibTrans" cxnId="{A0B73495-747A-4C3F-A337-3E262EE9F610}">
      <dgm:prSet/>
      <dgm:spPr/>
      <dgm:t>
        <a:bodyPr/>
        <a:lstStyle/>
        <a:p>
          <a:endParaRPr lang="nb-NO" sz="1200"/>
        </a:p>
      </dgm:t>
    </dgm:pt>
    <dgm:pt modelId="{6A239C10-29D5-4CE5-B783-1125FD68868F}">
      <dgm:prSet phldrT="[Text]" custT="1"/>
      <dgm:spPr>
        <a:solidFill>
          <a:schemeClr val="accent1">
            <a:lumMod val="90000"/>
          </a:schemeClr>
        </a:solidFill>
      </dgm:spPr>
      <dgm:t>
        <a:bodyPr/>
        <a:lstStyle/>
        <a:p>
          <a:pPr>
            <a:spcAft>
              <a:spcPct val="35000"/>
            </a:spcAft>
          </a:pPr>
          <a:r>
            <a:rPr lang="nb-NO" sz="1200" b="1"/>
            <a:t>Egenlæring</a:t>
          </a:r>
        </a:p>
        <a:p>
          <a:pPr>
            <a:spcAft>
              <a:spcPts val="0"/>
            </a:spcAft>
          </a:pPr>
          <a:r>
            <a:rPr lang="nb-NO" sz="1200"/>
            <a:t>- BOTT ØL e-læring</a:t>
          </a:r>
        </a:p>
        <a:p>
          <a:pPr>
            <a:spcAft>
              <a:spcPts val="0"/>
            </a:spcAft>
          </a:pPr>
          <a:r>
            <a:rPr lang="nb-NO" sz="1200"/>
            <a:t>- DFØ Systemvideoer</a:t>
          </a:r>
          <a:br>
            <a:rPr lang="nb-NO" sz="1200"/>
          </a:br>
          <a:r>
            <a:rPr lang="nb-NO" sz="1200"/>
            <a:t>- DFØ e-læring</a:t>
          </a:r>
          <a:br>
            <a:rPr lang="nb-NO" sz="1200"/>
          </a:br>
          <a:r>
            <a:rPr lang="nb-NO" sz="1200"/>
            <a:t>- NTNU videokurs</a:t>
          </a:r>
        </a:p>
      </dgm:t>
    </dgm:pt>
    <dgm:pt modelId="{849EF6D6-C63A-4E4B-B8BF-05070F945AEF}" type="parTrans" cxnId="{D2D1D463-5007-4DDC-8F36-4C982BCFB9C3}">
      <dgm:prSet/>
      <dgm:spPr/>
      <dgm:t>
        <a:bodyPr/>
        <a:lstStyle/>
        <a:p>
          <a:endParaRPr lang="nb-NO" sz="1200"/>
        </a:p>
      </dgm:t>
    </dgm:pt>
    <dgm:pt modelId="{5B4C81A0-08F9-402C-AC69-2CFDF13AF752}" type="sibTrans" cxnId="{D2D1D463-5007-4DDC-8F36-4C982BCFB9C3}">
      <dgm:prSet/>
      <dgm:spPr/>
      <dgm:t>
        <a:bodyPr/>
        <a:lstStyle/>
        <a:p>
          <a:endParaRPr lang="nb-NO" sz="1200"/>
        </a:p>
      </dgm:t>
    </dgm:pt>
    <dgm:pt modelId="{18C14600-A4AE-4ED2-BBC8-91E08359B20F}" type="pres">
      <dgm:prSet presAssocID="{F6899751-E627-443E-86C2-E1F8E53D452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616AB38C-CFDC-4DB6-B676-4DAF679346F9}" type="pres">
      <dgm:prSet presAssocID="{F6899751-E627-443E-86C2-E1F8E53D4523}" presName="matrix" presStyleCnt="0"/>
      <dgm:spPr/>
    </dgm:pt>
    <dgm:pt modelId="{59AE269F-53FC-4308-A828-F361FB26BBFE}" type="pres">
      <dgm:prSet presAssocID="{F6899751-E627-443E-86C2-E1F8E53D4523}" presName="tile1" presStyleLbl="node1" presStyleIdx="0" presStyleCnt="4"/>
      <dgm:spPr/>
    </dgm:pt>
    <dgm:pt modelId="{5E81395F-1121-45A0-BC8B-7C1D973BE623}" type="pres">
      <dgm:prSet presAssocID="{F6899751-E627-443E-86C2-E1F8E53D452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C641786F-1105-4E7D-B43F-59DDA91D0A9C}" type="pres">
      <dgm:prSet presAssocID="{F6899751-E627-443E-86C2-E1F8E53D4523}" presName="tile2" presStyleLbl="node1" presStyleIdx="1" presStyleCnt="4" custLinFactNeighborX="-446" custLinFactNeighborY="-26733"/>
      <dgm:spPr/>
    </dgm:pt>
    <dgm:pt modelId="{17729412-17DD-495B-9324-66D116D07F43}" type="pres">
      <dgm:prSet presAssocID="{F6899751-E627-443E-86C2-E1F8E53D452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B552DEAA-B732-4475-A930-7DF6F868DE27}" type="pres">
      <dgm:prSet presAssocID="{F6899751-E627-443E-86C2-E1F8E53D4523}" presName="tile3" presStyleLbl="node1" presStyleIdx="2" presStyleCnt="4" custLinFactNeighborX="-1656" custLinFactNeighborY="-414"/>
      <dgm:spPr/>
    </dgm:pt>
    <dgm:pt modelId="{BC0ABCDE-F2CB-4E53-8646-385B81A90F34}" type="pres">
      <dgm:prSet presAssocID="{F6899751-E627-443E-86C2-E1F8E53D452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733116BF-33AC-40D9-ABAB-F1408D18153E}" type="pres">
      <dgm:prSet presAssocID="{F6899751-E627-443E-86C2-E1F8E53D4523}" presName="tile4" presStyleLbl="node1" presStyleIdx="3" presStyleCnt="4"/>
      <dgm:spPr/>
    </dgm:pt>
    <dgm:pt modelId="{B29EB35F-0CC2-429B-A8D3-3984220EE9D3}" type="pres">
      <dgm:prSet presAssocID="{F6899751-E627-443E-86C2-E1F8E53D452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81375138-22FA-4DF7-935E-8921C252465F}" type="pres">
      <dgm:prSet presAssocID="{F6899751-E627-443E-86C2-E1F8E53D4523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B884D408-3C55-4250-B759-64DA334E0359}" type="presOf" srcId="{C9EFFB27-0EB2-416B-AC91-600A41FCF8BE}" destId="{81375138-22FA-4DF7-935E-8921C252465F}" srcOrd="0" destOrd="0" presId="urn:microsoft.com/office/officeart/2005/8/layout/matrix1"/>
    <dgm:cxn modelId="{6BD1DC0C-22D7-467D-B119-C57331DF7FA8}" type="presOf" srcId="{6A239C10-29D5-4CE5-B783-1125FD68868F}" destId="{733116BF-33AC-40D9-ABAB-F1408D18153E}" srcOrd="0" destOrd="0" presId="urn:microsoft.com/office/officeart/2005/8/layout/matrix1"/>
    <dgm:cxn modelId="{94799E12-8515-4421-AA37-9D018CE6BDA1}" type="presOf" srcId="{F6899751-E627-443E-86C2-E1F8E53D4523}" destId="{18C14600-A4AE-4ED2-BBC8-91E08359B20F}" srcOrd="0" destOrd="0" presId="urn:microsoft.com/office/officeart/2005/8/layout/matrix1"/>
    <dgm:cxn modelId="{A78CC640-3497-4D15-8FDC-B5450E179A7C}" type="presOf" srcId="{ACB6EBE2-8678-4135-983A-A50260ADE38B}" destId="{C641786F-1105-4E7D-B43F-59DDA91D0A9C}" srcOrd="0" destOrd="0" presId="urn:microsoft.com/office/officeart/2005/8/layout/matrix1"/>
    <dgm:cxn modelId="{4E76275F-998F-4C50-813D-EBB38F6E743A}" srcId="{C9EFFB27-0EB2-416B-AC91-600A41FCF8BE}" destId="{A0E0BC68-5B44-44FC-9DDD-9A5AFD158759}" srcOrd="0" destOrd="0" parTransId="{EDA9A6F0-DCBB-4DA8-9FF3-1738EE242D9C}" sibTransId="{F8BBE20C-11CE-4858-85E6-8D8C11B01E73}"/>
    <dgm:cxn modelId="{D2D1D463-5007-4DDC-8F36-4C982BCFB9C3}" srcId="{C9EFFB27-0EB2-416B-AC91-600A41FCF8BE}" destId="{6A239C10-29D5-4CE5-B783-1125FD68868F}" srcOrd="3" destOrd="0" parTransId="{849EF6D6-C63A-4E4B-B8BF-05070F945AEF}" sibTransId="{5B4C81A0-08F9-402C-AC69-2CFDF13AF752}"/>
    <dgm:cxn modelId="{6ACC1866-D71F-4F59-ADA9-6F6E6720F719}" srcId="{C9EFFB27-0EB2-416B-AC91-600A41FCF8BE}" destId="{ACB6EBE2-8678-4135-983A-A50260ADE38B}" srcOrd="1" destOrd="0" parTransId="{14E0E4D6-713C-4368-BBA4-48B82212E626}" sibTransId="{DBDD4AFB-E753-4B96-B280-EFD60741C05C}"/>
    <dgm:cxn modelId="{D2032A6B-0BB6-4DA8-9D47-089D06243E48}" type="presOf" srcId="{6E13336A-1061-4597-829A-457963054662}" destId="{B552DEAA-B732-4475-A930-7DF6F868DE27}" srcOrd="0" destOrd="0" presId="urn:microsoft.com/office/officeart/2005/8/layout/matrix1"/>
    <dgm:cxn modelId="{5EB6997E-2515-4492-9ED9-DD997A465287}" srcId="{F6899751-E627-443E-86C2-E1F8E53D4523}" destId="{C9EFFB27-0EB2-416B-AC91-600A41FCF8BE}" srcOrd="0" destOrd="0" parTransId="{DDC05AC6-6FDE-45D5-B6D0-91F63CFA3D0B}" sibTransId="{7D514737-E564-49EC-B82C-C49065456AFE}"/>
    <dgm:cxn modelId="{A0B73495-747A-4C3F-A337-3E262EE9F610}" srcId="{C9EFFB27-0EB2-416B-AC91-600A41FCF8BE}" destId="{6E13336A-1061-4597-829A-457963054662}" srcOrd="2" destOrd="0" parTransId="{0F6F06C4-C879-4D38-A2F6-C248597D04B8}" sibTransId="{C5353622-0F71-47C8-845F-B9F64907EAA9}"/>
    <dgm:cxn modelId="{FC0A52B2-EE2D-4397-9E82-A492AB2B3528}" type="presOf" srcId="{A0E0BC68-5B44-44FC-9DDD-9A5AFD158759}" destId="{59AE269F-53FC-4308-A828-F361FB26BBFE}" srcOrd="0" destOrd="0" presId="urn:microsoft.com/office/officeart/2005/8/layout/matrix1"/>
    <dgm:cxn modelId="{15DCA0C9-4251-48EA-AEC7-A5B21208CC30}" type="presOf" srcId="{6A239C10-29D5-4CE5-B783-1125FD68868F}" destId="{B29EB35F-0CC2-429B-A8D3-3984220EE9D3}" srcOrd="1" destOrd="0" presId="urn:microsoft.com/office/officeart/2005/8/layout/matrix1"/>
    <dgm:cxn modelId="{94E730DA-FB50-4708-9F1D-D963070A7A31}" type="presOf" srcId="{6E13336A-1061-4597-829A-457963054662}" destId="{BC0ABCDE-F2CB-4E53-8646-385B81A90F34}" srcOrd="1" destOrd="0" presId="urn:microsoft.com/office/officeart/2005/8/layout/matrix1"/>
    <dgm:cxn modelId="{EE2391E0-0D47-4F7F-A7E9-1669DD21C3D6}" type="presOf" srcId="{A0E0BC68-5B44-44FC-9DDD-9A5AFD158759}" destId="{5E81395F-1121-45A0-BC8B-7C1D973BE623}" srcOrd="1" destOrd="0" presId="urn:microsoft.com/office/officeart/2005/8/layout/matrix1"/>
    <dgm:cxn modelId="{6E17CCE1-40D5-4EF4-87E2-10746512F8D8}" type="presOf" srcId="{ACB6EBE2-8678-4135-983A-A50260ADE38B}" destId="{17729412-17DD-495B-9324-66D116D07F43}" srcOrd="1" destOrd="0" presId="urn:microsoft.com/office/officeart/2005/8/layout/matrix1"/>
    <dgm:cxn modelId="{245845D6-CC7C-40FD-A7C6-AD34D3E91428}" type="presParOf" srcId="{18C14600-A4AE-4ED2-BBC8-91E08359B20F}" destId="{616AB38C-CFDC-4DB6-B676-4DAF679346F9}" srcOrd="0" destOrd="0" presId="urn:microsoft.com/office/officeart/2005/8/layout/matrix1"/>
    <dgm:cxn modelId="{80116A87-1209-4181-893F-9EAC53131393}" type="presParOf" srcId="{616AB38C-CFDC-4DB6-B676-4DAF679346F9}" destId="{59AE269F-53FC-4308-A828-F361FB26BBFE}" srcOrd="0" destOrd="0" presId="urn:microsoft.com/office/officeart/2005/8/layout/matrix1"/>
    <dgm:cxn modelId="{31F437C1-68DE-4FEC-AA8E-F723D9E60B0D}" type="presParOf" srcId="{616AB38C-CFDC-4DB6-B676-4DAF679346F9}" destId="{5E81395F-1121-45A0-BC8B-7C1D973BE623}" srcOrd="1" destOrd="0" presId="urn:microsoft.com/office/officeart/2005/8/layout/matrix1"/>
    <dgm:cxn modelId="{A869D1D5-8966-4DD0-84A3-314EB05462F3}" type="presParOf" srcId="{616AB38C-CFDC-4DB6-B676-4DAF679346F9}" destId="{C641786F-1105-4E7D-B43F-59DDA91D0A9C}" srcOrd="2" destOrd="0" presId="urn:microsoft.com/office/officeart/2005/8/layout/matrix1"/>
    <dgm:cxn modelId="{D24040CC-799E-4208-9E7A-D7576AAC1D1B}" type="presParOf" srcId="{616AB38C-CFDC-4DB6-B676-4DAF679346F9}" destId="{17729412-17DD-495B-9324-66D116D07F43}" srcOrd="3" destOrd="0" presId="urn:microsoft.com/office/officeart/2005/8/layout/matrix1"/>
    <dgm:cxn modelId="{C82ACA8A-BD41-43BB-B027-E15550AC70BB}" type="presParOf" srcId="{616AB38C-CFDC-4DB6-B676-4DAF679346F9}" destId="{B552DEAA-B732-4475-A930-7DF6F868DE27}" srcOrd="4" destOrd="0" presId="urn:microsoft.com/office/officeart/2005/8/layout/matrix1"/>
    <dgm:cxn modelId="{5828148D-2D41-4755-ADBB-104315127780}" type="presParOf" srcId="{616AB38C-CFDC-4DB6-B676-4DAF679346F9}" destId="{BC0ABCDE-F2CB-4E53-8646-385B81A90F34}" srcOrd="5" destOrd="0" presId="urn:microsoft.com/office/officeart/2005/8/layout/matrix1"/>
    <dgm:cxn modelId="{59D10E7A-A302-4477-B1F3-280DC13F24C5}" type="presParOf" srcId="{616AB38C-CFDC-4DB6-B676-4DAF679346F9}" destId="{733116BF-33AC-40D9-ABAB-F1408D18153E}" srcOrd="6" destOrd="0" presId="urn:microsoft.com/office/officeart/2005/8/layout/matrix1"/>
    <dgm:cxn modelId="{5E8F580E-415A-444F-A00E-8D7E4230AC6E}" type="presParOf" srcId="{616AB38C-CFDC-4DB6-B676-4DAF679346F9}" destId="{B29EB35F-0CC2-429B-A8D3-3984220EE9D3}" srcOrd="7" destOrd="0" presId="urn:microsoft.com/office/officeart/2005/8/layout/matrix1"/>
    <dgm:cxn modelId="{C0B748F6-3F1C-45FE-83CF-0C8141043241}" type="presParOf" srcId="{18C14600-A4AE-4ED2-BBC8-91E08359B20F}" destId="{81375138-22FA-4DF7-935E-8921C252465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510DCF-F6C7-4F55-BB5C-90DAF0DE14B1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019DCE1C-6D6F-4FFE-91DD-81AADD7AFBAD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1"/>
            <a:t>Kurs 1</a:t>
          </a:r>
        </a:p>
        <a:p>
          <a:r>
            <a:rPr lang="nb-NO" sz="900" b="0"/>
            <a:t>Introduksjon til opplæring </a:t>
          </a:r>
          <a:r>
            <a:rPr lang="nb-NO" sz="900"/>
            <a:t>og egenlæring for rolle og prosess</a:t>
          </a:r>
        </a:p>
      </dgm:t>
    </dgm:pt>
    <dgm:pt modelId="{D4EF899C-C643-404C-B1D5-54EEF1D5643E}" type="parTrans" cxnId="{EF360807-9D82-4204-BAFE-4A1E88F87784}">
      <dgm:prSet/>
      <dgm:spPr/>
      <dgm:t>
        <a:bodyPr/>
        <a:lstStyle/>
        <a:p>
          <a:endParaRPr lang="nb-NO" sz="1000"/>
        </a:p>
      </dgm:t>
    </dgm:pt>
    <dgm:pt modelId="{877FE54A-EDFC-46A5-9170-6F4DD04C5FC7}" type="sibTrans" cxnId="{EF360807-9D82-4204-BAFE-4A1E88F87784}">
      <dgm:prSet/>
      <dgm:spPr/>
      <dgm:t>
        <a:bodyPr/>
        <a:lstStyle/>
        <a:p>
          <a:endParaRPr lang="nb-NO" sz="1000"/>
        </a:p>
      </dgm:t>
    </dgm:pt>
    <dgm:pt modelId="{92E89340-0D76-47FB-AFFB-3CC9E14D5D7C}">
      <dgm:prSet phldrT="[Text]" custT="1"/>
      <dgm:spPr/>
      <dgm:t>
        <a:bodyPr/>
        <a:lstStyle/>
        <a:p>
          <a:r>
            <a:rPr lang="nb-NO" sz="1000" b="1"/>
            <a:t>NTNU </a:t>
          </a:r>
        </a:p>
        <a:p>
          <a:r>
            <a:rPr lang="nb-NO" sz="1000" b="0"/>
            <a:t>Kurs 2</a:t>
          </a:r>
        </a:p>
        <a:p>
          <a:r>
            <a:rPr lang="nb-NO" sz="1000" b="0"/>
            <a:t>Prosjekt-budsjettering</a:t>
          </a:r>
        </a:p>
        <a:p>
          <a:r>
            <a:rPr lang="nb-NO" sz="1000" b="0"/>
            <a:t>(fysisk kurs)</a:t>
          </a:r>
        </a:p>
      </dgm:t>
    </dgm:pt>
    <dgm:pt modelId="{F875E23E-7E0C-437B-A834-28B269E7BD4E}" type="parTrans" cxnId="{49720E9C-3284-41FE-9B55-8EFA6A5A5E68}">
      <dgm:prSet/>
      <dgm:spPr/>
      <dgm:t>
        <a:bodyPr/>
        <a:lstStyle/>
        <a:p>
          <a:endParaRPr lang="nb-NO" sz="1000"/>
        </a:p>
      </dgm:t>
    </dgm:pt>
    <dgm:pt modelId="{5D2AB3AB-ACDC-4BA1-B152-C4ACEADAB04F}" type="sibTrans" cxnId="{49720E9C-3284-41FE-9B55-8EFA6A5A5E68}">
      <dgm:prSet/>
      <dgm:spPr/>
      <dgm:t>
        <a:bodyPr/>
        <a:lstStyle/>
        <a:p>
          <a:endParaRPr lang="nb-NO" sz="1000"/>
        </a:p>
      </dgm:t>
    </dgm:pt>
    <dgm:pt modelId="{4DE5FC12-B9CD-4A02-BDE0-39B691768F20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1000"/>
            <a:t>Repetisjon / oppslag etter opplæring og ved oppstart</a:t>
          </a:r>
        </a:p>
      </dgm:t>
    </dgm:pt>
    <dgm:pt modelId="{9D817DC7-AAB1-4058-B8C8-E3D459ED4A18}" type="parTrans" cxnId="{6508A972-8F63-4362-B5E0-51EF2FB243CC}">
      <dgm:prSet/>
      <dgm:spPr/>
      <dgm:t>
        <a:bodyPr/>
        <a:lstStyle/>
        <a:p>
          <a:endParaRPr lang="nb-NO" sz="1000"/>
        </a:p>
      </dgm:t>
    </dgm:pt>
    <dgm:pt modelId="{4017AB02-F3AF-439D-BB6B-5BE31340E0A5}" type="sibTrans" cxnId="{6508A972-8F63-4362-B5E0-51EF2FB243CC}">
      <dgm:prSet/>
      <dgm:spPr/>
      <dgm:t>
        <a:bodyPr/>
        <a:lstStyle/>
        <a:p>
          <a:endParaRPr lang="nb-NO" sz="1000"/>
        </a:p>
      </dgm:t>
    </dgm:pt>
    <dgm:pt modelId="{91F15A80-5AC6-4574-8AD5-30D6516C9E2F}">
      <dgm:prSet phldrT="[Text]" custT="1"/>
      <dgm:spPr/>
      <dgm:t>
        <a:bodyPr/>
        <a:lstStyle/>
        <a:p>
          <a:r>
            <a:rPr lang="nb-NO" sz="1000" b="1"/>
            <a:t>Egenlæring</a:t>
          </a:r>
        </a:p>
        <a:p>
          <a:r>
            <a:rPr lang="nb-NO" sz="900"/>
            <a:t>E-læring for rolle og prosess</a:t>
          </a:r>
        </a:p>
        <a:p>
          <a:r>
            <a:rPr lang="nb-NO" sz="900"/>
            <a:t>Økonomi-modell – videokurs</a:t>
          </a:r>
        </a:p>
        <a:p>
          <a:r>
            <a:rPr lang="nb-NO" sz="900"/>
            <a:t>Lokal oppfølging</a:t>
          </a:r>
        </a:p>
      </dgm:t>
    </dgm:pt>
    <dgm:pt modelId="{F838931F-A534-4025-A61E-3AD886558946}" type="parTrans" cxnId="{8CB4C099-A7BC-4416-A59F-B96370F971D8}">
      <dgm:prSet/>
      <dgm:spPr/>
      <dgm:t>
        <a:bodyPr/>
        <a:lstStyle/>
        <a:p>
          <a:endParaRPr lang="nb-NO" sz="1000"/>
        </a:p>
      </dgm:t>
    </dgm:pt>
    <dgm:pt modelId="{CD8E1CE9-C192-4286-B36A-0804F55D2603}" type="sibTrans" cxnId="{8CB4C099-A7BC-4416-A59F-B96370F971D8}">
      <dgm:prSet/>
      <dgm:spPr/>
      <dgm:t>
        <a:bodyPr/>
        <a:lstStyle/>
        <a:p>
          <a:endParaRPr lang="nb-NO" sz="1000"/>
        </a:p>
      </dgm:t>
    </dgm:pt>
    <dgm:pt modelId="{8C30EEEE-0037-4F23-960A-F3B8C2B0271A}">
      <dgm:prSet phldrT="[Text]" custT="1"/>
      <dgm:spPr/>
      <dgm:t>
        <a:bodyPr/>
        <a:lstStyle/>
        <a:p>
          <a:r>
            <a:rPr lang="nb-NO" sz="1000" b="0"/>
            <a:t>Bruker-støtte</a:t>
          </a:r>
        </a:p>
        <a:p>
          <a:r>
            <a:rPr lang="nb-NO" sz="1000"/>
            <a:t>Innsida</a:t>
          </a:r>
        </a:p>
        <a:p>
          <a:r>
            <a:rPr lang="nb-NO" sz="1000"/>
            <a:t>NTNU Hjelp</a:t>
          </a:r>
          <a:r>
            <a:rPr lang="nb-NO" sz="1000" b="1"/>
            <a:t> </a:t>
          </a:r>
          <a:endParaRPr lang="nb-NO" sz="1000"/>
        </a:p>
      </dgm:t>
    </dgm:pt>
    <dgm:pt modelId="{2ECB347E-C9E3-47E1-9989-C50F39149050}" type="parTrans" cxnId="{C2D57AAF-F314-4A91-89F3-69BA988A0677}">
      <dgm:prSet/>
      <dgm:spPr/>
      <dgm:t>
        <a:bodyPr/>
        <a:lstStyle/>
        <a:p>
          <a:endParaRPr lang="nb-NO" sz="1000"/>
        </a:p>
      </dgm:t>
    </dgm:pt>
    <dgm:pt modelId="{98BCD1D1-EAF3-425C-B6F6-E04AA99EC169}" type="sibTrans" cxnId="{C2D57AAF-F314-4A91-89F3-69BA988A0677}">
      <dgm:prSet/>
      <dgm:spPr/>
      <dgm:t>
        <a:bodyPr/>
        <a:lstStyle/>
        <a:p>
          <a:endParaRPr lang="nb-NO" sz="1000"/>
        </a:p>
      </dgm:t>
    </dgm:pt>
    <dgm:pt modelId="{2B824F8D-0F4A-482D-AD39-400F2CA8ECB5}">
      <dgm:prSet phldrT="[Text]" custT="1"/>
      <dgm:spPr/>
      <dgm:t>
        <a:bodyPr/>
        <a:lstStyle/>
        <a:p>
          <a:pPr algn="ctr"/>
          <a:r>
            <a:rPr lang="nb-NO" sz="1000" b="0"/>
            <a:t>Fra 8.12 ukentlig Fagcafé</a:t>
          </a:r>
        </a:p>
      </dgm:t>
    </dgm:pt>
    <dgm:pt modelId="{8A6F6102-DE15-4309-9B75-14FA68B3CB6A}" type="parTrans" cxnId="{58A15184-ECEA-4F5F-8407-8F253FAD094D}">
      <dgm:prSet/>
      <dgm:spPr/>
      <dgm:t>
        <a:bodyPr/>
        <a:lstStyle/>
        <a:p>
          <a:endParaRPr lang="nb-NO"/>
        </a:p>
      </dgm:t>
    </dgm:pt>
    <dgm:pt modelId="{CECD5D49-6715-44F0-A859-68373F625845}" type="sibTrans" cxnId="{58A15184-ECEA-4F5F-8407-8F253FAD094D}">
      <dgm:prSet/>
      <dgm:spPr/>
      <dgm:t>
        <a:bodyPr/>
        <a:lstStyle/>
        <a:p>
          <a:endParaRPr lang="nb-NO"/>
        </a:p>
      </dgm:t>
    </dgm:pt>
    <dgm:pt modelId="{2251F105-5557-44AE-89D0-371934ABC882}">
      <dgm:prSet phldrT="[Text]" custT="1"/>
      <dgm:spPr/>
      <dgm:t>
        <a:bodyPr/>
        <a:lstStyle/>
        <a:p>
          <a:r>
            <a:rPr lang="nb-NO" sz="1000" b="1"/>
            <a:t>Vår 2023 </a:t>
          </a:r>
        </a:p>
        <a:p>
          <a:r>
            <a:rPr lang="nb-NO" sz="1000" b="0"/>
            <a:t>Kurs i frikjøp, prosjektfakturering og prosjektopprettelse</a:t>
          </a:r>
        </a:p>
        <a:p>
          <a:r>
            <a:rPr lang="nb-NO" sz="1000" b="0"/>
            <a:t>(fysiske kurs)</a:t>
          </a:r>
        </a:p>
      </dgm:t>
    </dgm:pt>
    <dgm:pt modelId="{A4453E89-F930-4D78-B38A-C46960D6F42A}" type="parTrans" cxnId="{67909F85-D277-4032-88F0-DF443D5DB024}">
      <dgm:prSet/>
      <dgm:spPr/>
      <dgm:t>
        <a:bodyPr/>
        <a:lstStyle/>
        <a:p>
          <a:endParaRPr lang="nb-NO"/>
        </a:p>
      </dgm:t>
    </dgm:pt>
    <dgm:pt modelId="{2B5E8A19-0B99-4B51-943F-DF33CEFD7492}" type="sibTrans" cxnId="{67909F85-D277-4032-88F0-DF443D5DB024}">
      <dgm:prSet/>
      <dgm:spPr/>
      <dgm:t>
        <a:bodyPr/>
        <a:lstStyle/>
        <a:p>
          <a:endParaRPr lang="nb-NO"/>
        </a:p>
      </dgm:t>
    </dgm:pt>
    <dgm:pt modelId="{DD142AA0-EE10-4396-A7D9-0F354360D1EA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ctr">
            <a:buNone/>
          </a:pPr>
          <a:r>
            <a:rPr lang="nb-NO" sz="1000" b="0"/>
            <a:t>FTI-prosessen</a:t>
          </a:r>
        </a:p>
      </dgm:t>
    </dgm:pt>
    <dgm:pt modelId="{C8224DBD-3DBB-4538-9F2B-FC96FBD4A0D4}" type="parTrans" cxnId="{B305CFA4-5BBF-41D7-98FD-79EBD714452C}">
      <dgm:prSet/>
      <dgm:spPr/>
      <dgm:t>
        <a:bodyPr/>
        <a:lstStyle/>
        <a:p>
          <a:endParaRPr lang="nb-NO"/>
        </a:p>
      </dgm:t>
    </dgm:pt>
    <dgm:pt modelId="{7A294208-C634-4A02-9570-6E753D9A4582}" type="sibTrans" cxnId="{B305CFA4-5BBF-41D7-98FD-79EBD714452C}">
      <dgm:prSet/>
      <dgm:spPr/>
      <dgm:t>
        <a:bodyPr/>
        <a:lstStyle/>
        <a:p>
          <a:endParaRPr lang="nb-NO"/>
        </a:p>
      </dgm:t>
    </dgm:pt>
    <dgm:pt modelId="{25A88D68-9943-4296-BA70-765DEA62866A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ctr">
            <a:buNone/>
          </a:pPr>
          <a:r>
            <a:rPr lang="nb-NO" sz="1000" b="0"/>
            <a:t>Faktura-ansvarlig PØ</a:t>
          </a:r>
        </a:p>
      </dgm:t>
    </dgm:pt>
    <dgm:pt modelId="{C3F5F631-F440-4551-ABCF-EA69219DF5D8}" type="parTrans" cxnId="{2CEB2A6F-D2A9-471C-818E-4C7520148FF5}">
      <dgm:prSet/>
      <dgm:spPr/>
      <dgm:t>
        <a:bodyPr/>
        <a:lstStyle/>
        <a:p>
          <a:endParaRPr lang="nb-NO"/>
        </a:p>
      </dgm:t>
    </dgm:pt>
    <dgm:pt modelId="{A0C23B52-AE12-444B-AF6B-9F872BC2E51A}" type="sibTrans" cxnId="{2CEB2A6F-D2A9-471C-818E-4C7520148FF5}">
      <dgm:prSet/>
      <dgm:spPr/>
      <dgm:t>
        <a:bodyPr/>
        <a:lstStyle/>
        <a:p>
          <a:endParaRPr lang="nb-NO"/>
        </a:p>
      </dgm:t>
    </dgm:pt>
    <dgm:pt modelId="{38C55D94-F6FE-4E63-AE91-A9922FBB4FE4}">
      <dgm:prSet phldrT="[Text]"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ctr">
            <a:buNone/>
          </a:pPr>
          <a:r>
            <a:rPr lang="nb-NO" sz="1000" b="0"/>
            <a:t>Salgsordreoppretter  </a:t>
          </a:r>
        </a:p>
        <a:p>
          <a:pPr algn="l"/>
          <a:endParaRPr lang="nb-NO" sz="1000" b="0"/>
        </a:p>
      </dgm:t>
    </dgm:pt>
    <dgm:pt modelId="{71341A9B-C402-4EAD-AFDA-18927C3649BA}" type="parTrans" cxnId="{008D8F67-CB4A-4EEC-8C0F-8DA78CD7DC71}">
      <dgm:prSet/>
      <dgm:spPr/>
      <dgm:t>
        <a:bodyPr/>
        <a:lstStyle/>
        <a:p>
          <a:endParaRPr lang="nb-NO"/>
        </a:p>
      </dgm:t>
    </dgm:pt>
    <dgm:pt modelId="{DC8E961F-FE14-49D4-8432-4BC1B28E25D9}" type="sibTrans" cxnId="{008D8F67-CB4A-4EEC-8C0F-8DA78CD7DC71}">
      <dgm:prSet/>
      <dgm:spPr/>
      <dgm:t>
        <a:bodyPr/>
        <a:lstStyle/>
        <a:p>
          <a:endParaRPr lang="nb-NO"/>
        </a:p>
      </dgm:t>
    </dgm:pt>
    <dgm:pt modelId="{EB2B9690-5C09-4F4C-9B90-6DD703578653}" type="pres">
      <dgm:prSet presAssocID="{D4510DCF-F6C7-4F55-BB5C-90DAF0DE14B1}" presName="CompostProcess" presStyleCnt="0">
        <dgm:presLayoutVars>
          <dgm:dir/>
          <dgm:resizeHandles val="exact"/>
        </dgm:presLayoutVars>
      </dgm:prSet>
      <dgm:spPr/>
    </dgm:pt>
    <dgm:pt modelId="{26AE0105-133E-4FF4-8816-8B4F92E66E75}" type="pres">
      <dgm:prSet presAssocID="{D4510DCF-F6C7-4F55-BB5C-90DAF0DE14B1}" presName="arrow" presStyleLbl="bgShp" presStyleIdx="0" presStyleCnt="1" custScaleX="117647" custLinFactNeighborX="87629" custLinFactNeighborY="-18148"/>
      <dgm:spPr/>
    </dgm:pt>
    <dgm:pt modelId="{9D6D4CED-C3A2-46AF-B90D-B5F7A9C8DC25}" type="pres">
      <dgm:prSet presAssocID="{D4510DCF-F6C7-4F55-BB5C-90DAF0DE14B1}" presName="linearProcess" presStyleCnt="0"/>
      <dgm:spPr/>
    </dgm:pt>
    <dgm:pt modelId="{8A073C8C-7751-4CB9-A524-00CE45ACE0B6}" type="pres">
      <dgm:prSet presAssocID="{019DCE1C-6D6F-4FFE-91DD-81AADD7AFBAD}" presName="textNode" presStyleLbl="node1" presStyleIdx="0" presStyleCnt="8" custScaleX="113252" custLinFactNeighborX="31510">
        <dgm:presLayoutVars>
          <dgm:bulletEnabled val="1"/>
        </dgm:presLayoutVars>
      </dgm:prSet>
      <dgm:spPr/>
    </dgm:pt>
    <dgm:pt modelId="{7F614FA5-81E8-4590-B8C8-9F80AA04ED7F}" type="pres">
      <dgm:prSet presAssocID="{877FE54A-EDFC-46A5-9170-6F4DD04C5FC7}" presName="sibTrans" presStyleCnt="0"/>
      <dgm:spPr/>
    </dgm:pt>
    <dgm:pt modelId="{6DCCF6FC-0881-4755-8B41-48B9DE698B30}" type="pres">
      <dgm:prSet presAssocID="{91F15A80-5AC6-4574-8AD5-30D6516C9E2F}" presName="textNode" presStyleLbl="node1" presStyleIdx="1" presStyleCnt="8" custScaleX="118437">
        <dgm:presLayoutVars>
          <dgm:bulletEnabled val="1"/>
        </dgm:presLayoutVars>
      </dgm:prSet>
      <dgm:spPr/>
    </dgm:pt>
    <dgm:pt modelId="{85D7877B-9A68-44EE-BEDB-2C3587001E54}" type="pres">
      <dgm:prSet presAssocID="{CD8E1CE9-C192-4286-B36A-0804F55D2603}" presName="sibTrans" presStyleCnt="0"/>
      <dgm:spPr/>
    </dgm:pt>
    <dgm:pt modelId="{2CBB4BEF-1A89-49D3-9B59-B25A5049F2EB}" type="pres">
      <dgm:prSet presAssocID="{92E89340-0D76-47FB-AFFB-3CC9E14D5D7C}" presName="textNode" presStyleLbl="node1" presStyleIdx="2" presStyleCnt="8" custScaleX="115308">
        <dgm:presLayoutVars>
          <dgm:bulletEnabled val="1"/>
        </dgm:presLayoutVars>
      </dgm:prSet>
      <dgm:spPr/>
    </dgm:pt>
    <dgm:pt modelId="{42CAEE9A-7FFB-4C42-B1ED-16A2059EA047}" type="pres">
      <dgm:prSet presAssocID="{5D2AB3AB-ACDC-4BA1-B152-C4ACEADAB04F}" presName="sibTrans" presStyleCnt="0"/>
      <dgm:spPr/>
    </dgm:pt>
    <dgm:pt modelId="{62201053-D849-4FCD-B993-571EBFA5243E}" type="pres">
      <dgm:prSet presAssocID="{4DE5FC12-B9CD-4A02-BDE0-39B691768F20}" presName="textNode" presStyleLbl="node1" presStyleIdx="3" presStyleCnt="8" custScaleX="124360">
        <dgm:presLayoutVars>
          <dgm:bulletEnabled val="1"/>
        </dgm:presLayoutVars>
      </dgm:prSet>
      <dgm:spPr/>
    </dgm:pt>
    <dgm:pt modelId="{578FC630-A1E1-479C-99C2-977F66AFC56D}" type="pres">
      <dgm:prSet presAssocID="{4017AB02-F3AF-439D-BB6B-5BE31340E0A5}" presName="sibTrans" presStyleCnt="0"/>
      <dgm:spPr/>
    </dgm:pt>
    <dgm:pt modelId="{B18664F0-C6BE-4C15-A7B4-20D1856CF816}" type="pres">
      <dgm:prSet presAssocID="{2B824F8D-0F4A-482D-AD39-400F2CA8ECB5}" presName="textNode" presStyleLbl="node1" presStyleIdx="4" presStyleCnt="8" custScaleX="123106">
        <dgm:presLayoutVars>
          <dgm:bulletEnabled val="1"/>
        </dgm:presLayoutVars>
      </dgm:prSet>
      <dgm:spPr/>
    </dgm:pt>
    <dgm:pt modelId="{5DBD0445-5ED5-4D39-967A-EFCC983DD71F}" type="pres">
      <dgm:prSet presAssocID="{CECD5D49-6715-44F0-A859-68373F625845}" presName="sibTrans" presStyleCnt="0"/>
      <dgm:spPr/>
    </dgm:pt>
    <dgm:pt modelId="{83CB478F-3994-424B-8ED6-7023731B00A7}" type="pres">
      <dgm:prSet presAssocID="{DD142AA0-EE10-4396-A7D9-0F354360D1EA}" presName="textNode" presStyleLbl="node1" presStyleIdx="5" presStyleCnt="8">
        <dgm:presLayoutVars>
          <dgm:bulletEnabled val="1"/>
        </dgm:presLayoutVars>
      </dgm:prSet>
      <dgm:spPr/>
    </dgm:pt>
    <dgm:pt modelId="{11FAB97C-73E1-455A-B065-C22832425F65}" type="pres">
      <dgm:prSet presAssocID="{7A294208-C634-4A02-9570-6E753D9A4582}" presName="sibTrans" presStyleCnt="0"/>
      <dgm:spPr/>
    </dgm:pt>
    <dgm:pt modelId="{62F2A9AF-22A1-407C-B1ED-D4475DDEF1DC}" type="pres">
      <dgm:prSet presAssocID="{8C30EEEE-0037-4F23-960A-F3B8C2B0271A}" presName="textNode" presStyleLbl="node1" presStyleIdx="6" presStyleCnt="8">
        <dgm:presLayoutVars>
          <dgm:bulletEnabled val="1"/>
        </dgm:presLayoutVars>
      </dgm:prSet>
      <dgm:spPr/>
    </dgm:pt>
    <dgm:pt modelId="{D2ED9BFF-D53C-4C76-B730-F7CA334B26D7}" type="pres">
      <dgm:prSet presAssocID="{98BCD1D1-EAF3-425C-B6F6-E04AA99EC169}" presName="sibTrans" presStyleCnt="0"/>
      <dgm:spPr/>
    </dgm:pt>
    <dgm:pt modelId="{A5A648B9-87AF-4CEF-B416-A1D97628CFB1}" type="pres">
      <dgm:prSet presAssocID="{2251F105-5557-44AE-89D0-371934ABC882}" presName="textNode" presStyleLbl="node1" presStyleIdx="7" presStyleCnt="8" custScaleX="151085">
        <dgm:presLayoutVars>
          <dgm:bulletEnabled val="1"/>
        </dgm:presLayoutVars>
      </dgm:prSet>
      <dgm:spPr/>
    </dgm:pt>
  </dgm:ptLst>
  <dgm:cxnLst>
    <dgm:cxn modelId="{EF360807-9D82-4204-BAFE-4A1E88F87784}" srcId="{D4510DCF-F6C7-4F55-BB5C-90DAF0DE14B1}" destId="{019DCE1C-6D6F-4FFE-91DD-81AADD7AFBAD}" srcOrd="0" destOrd="0" parTransId="{D4EF899C-C643-404C-B1D5-54EEF1D5643E}" sibTransId="{877FE54A-EDFC-46A5-9170-6F4DD04C5FC7}"/>
    <dgm:cxn modelId="{3E18DC17-301B-445D-AF1B-B6A736FEA796}" type="presOf" srcId="{8C30EEEE-0037-4F23-960A-F3B8C2B0271A}" destId="{62F2A9AF-22A1-407C-B1ED-D4475DDEF1DC}" srcOrd="0" destOrd="0" presId="urn:microsoft.com/office/officeart/2005/8/layout/hProcess9"/>
    <dgm:cxn modelId="{9A9F152F-AA75-4B97-9279-7DEC79E1BD10}" type="presOf" srcId="{92E89340-0D76-47FB-AFFB-3CC9E14D5D7C}" destId="{2CBB4BEF-1A89-49D3-9B59-B25A5049F2EB}" srcOrd="0" destOrd="0" presId="urn:microsoft.com/office/officeart/2005/8/layout/hProcess9"/>
    <dgm:cxn modelId="{5443AD32-0715-4C29-BB82-3DAD1DAC3285}" type="presOf" srcId="{4DE5FC12-B9CD-4A02-BDE0-39B691768F20}" destId="{62201053-D849-4FCD-B993-571EBFA5243E}" srcOrd="0" destOrd="0" presId="urn:microsoft.com/office/officeart/2005/8/layout/hProcess9"/>
    <dgm:cxn modelId="{0B75BD45-F0F9-435C-82AA-587BB153CC49}" type="presOf" srcId="{DD142AA0-EE10-4396-A7D9-0F354360D1EA}" destId="{83CB478F-3994-424B-8ED6-7023731B00A7}" srcOrd="0" destOrd="0" presId="urn:microsoft.com/office/officeart/2005/8/layout/hProcess9"/>
    <dgm:cxn modelId="{008D8F67-CB4A-4EEC-8C0F-8DA78CD7DC71}" srcId="{DD142AA0-EE10-4396-A7D9-0F354360D1EA}" destId="{38C55D94-F6FE-4E63-AE91-A9922FBB4FE4}" srcOrd="1" destOrd="0" parTransId="{71341A9B-C402-4EAD-AFDA-18927C3649BA}" sibTransId="{DC8E961F-FE14-49D4-8432-4BC1B28E25D9}"/>
    <dgm:cxn modelId="{2CEB2A6F-D2A9-471C-818E-4C7520148FF5}" srcId="{DD142AA0-EE10-4396-A7D9-0F354360D1EA}" destId="{25A88D68-9943-4296-BA70-765DEA62866A}" srcOrd="0" destOrd="0" parTransId="{C3F5F631-F440-4551-ABCF-EA69219DF5D8}" sibTransId="{A0C23B52-AE12-444B-AF6B-9F872BC2E51A}"/>
    <dgm:cxn modelId="{6508A972-8F63-4362-B5E0-51EF2FB243CC}" srcId="{D4510DCF-F6C7-4F55-BB5C-90DAF0DE14B1}" destId="{4DE5FC12-B9CD-4A02-BDE0-39B691768F20}" srcOrd="3" destOrd="0" parTransId="{9D817DC7-AAB1-4058-B8C8-E3D459ED4A18}" sibTransId="{4017AB02-F3AF-439D-BB6B-5BE31340E0A5}"/>
    <dgm:cxn modelId="{D55BA973-FAB0-4B72-A569-AC1EA6FB64E1}" type="presOf" srcId="{2251F105-5557-44AE-89D0-371934ABC882}" destId="{A5A648B9-87AF-4CEF-B416-A1D97628CFB1}" srcOrd="0" destOrd="0" presId="urn:microsoft.com/office/officeart/2005/8/layout/hProcess9"/>
    <dgm:cxn modelId="{ABF00C5A-47F3-4B0D-ACC4-F00163C96BA9}" type="presOf" srcId="{019DCE1C-6D6F-4FFE-91DD-81AADD7AFBAD}" destId="{8A073C8C-7751-4CB9-A524-00CE45ACE0B6}" srcOrd="0" destOrd="0" presId="urn:microsoft.com/office/officeart/2005/8/layout/hProcess9"/>
    <dgm:cxn modelId="{58A15184-ECEA-4F5F-8407-8F253FAD094D}" srcId="{D4510DCF-F6C7-4F55-BB5C-90DAF0DE14B1}" destId="{2B824F8D-0F4A-482D-AD39-400F2CA8ECB5}" srcOrd="4" destOrd="0" parTransId="{8A6F6102-DE15-4309-9B75-14FA68B3CB6A}" sibTransId="{CECD5D49-6715-44F0-A859-68373F625845}"/>
    <dgm:cxn modelId="{67909F85-D277-4032-88F0-DF443D5DB024}" srcId="{D4510DCF-F6C7-4F55-BB5C-90DAF0DE14B1}" destId="{2251F105-5557-44AE-89D0-371934ABC882}" srcOrd="7" destOrd="0" parTransId="{A4453E89-F930-4D78-B38A-C46960D6F42A}" sibTransId="{2B5E8A19-0B99-4B51-943F-DF33CEFD7492}"/>
    <dgm:cxn modelId="{D4D99497-186D-4B1F-B22E-D0E2788F71AE}" type="presOf" srcId="{25A88D68-9943-4296-BA70-765DEA62866A}" destId="{83CB478F-3994-424B-8ED6-7023731B00A7}" srcOrd="0" destOrd="1" presId="urn:microsoft.com/office/officeart/2005/8/layout/hProcess9"/>
    <dgm:cxn modelId="{8CB4C099-A7BC-4416-A59F-B96370F971D8}" srcId="{D4510DCF-F6C7-4F55-BB5C-90DAF0DE14B1}" destId="{91F15A80-5AC6-4574-8AD5-30D6516C9E2F}" srcOrd="1" destOrd="0" parTransId="{F838931F-A534-4025-A61E-3AD886558946}" sibTransId="{CD8E1CE9-C192-4286-B36A-0804F55D2603}"/>
    <dgm:cxn modelId="{49720E9C-3284-41FE-9B55-8EFA6A5A5E68}" srcId="{D4510DCF-F6C7-4F55-BB5C-90DAF0DE14B1}" destId="{92E89340-0D76-47FB-AFFB-3CC9E14D5D7C}" srcOrd="2" destOrd="0" parTransId="{F875E23E-7E0C-437B-A834-28B269E7BD4E}" sibTransId="{5D2AB3AB-ACDC-4BA1-B152-C4ACEADAB04F}"/>
    <dgm:cxn modelId="{B305CFA4-5BBF-41D7-98FD-79EBD714452C}" srcId="{D4510DCF-F6C7-4F55-BB5C-90DAF0DE14B1}" destId="{DD142AA0-EE10-4396-A7D9-0F354360D1EA}" srcOrd="5" destOrd="0" parTransId="{C8224DBD-3DBB-4538-9F2B-FC96FBD4A0D4}" sibTransId="{7A294208-C634-4A02-9570-6E753D9A4582}"/>
    <dgm:cxn modelId="{C2D57AAF-F314-4A91-89F3-69BA988A0677}" srcId="{D4510DCF-F6C7-4F55-BB5C-90DAF0DE14B1}" destId="{8C30EEEE-0037-4F23-960A-F3B8C2B0271A}" srcOrd="6" destOrd="0" parTransId="{2ECB347E-C9E3-47E1-9989-C50F39149050}" sibTransId="{98BCD1D1-EAF3-425C-B6F6-E04AA99EC169}"/>
    <dgm:cxn modelId="{0ACE09C4-142C-4878-9D3D-713A6BA6704B}" type="presOf" srcId="{38C55D94-F6FE-4E63-AE91-A9922FBB4FE4}" destId="{83CB478F-3994-424B-8ED6-7023731B00A7}" srcOrd="0" destOrd="2" presId="urn:microsoft.com/office/officeart/2005/8/layout/hProcess9"/>
    <dgm:cxn modelId="{7DD4CCE8-FADE-4EFE-BCA8-1C62981697BE}" type="presOf" srcId="{2B824F8D-0F4A-482D-AD39-400F2CA8ECB5}" destId="{B18664F0-C6BE-4C15-A7B4-20D1856CF816}" srcOrd="0" destOrd="0" presId="urn:microsoft.com/office/officeart/2005/8/layout/hProcess9"/>
    <dgm:cxn modelId="{3909EAE9-D0AF-4C01-BBAD-4673024FD61B}" type="presOf" srcId="{D4510DCF-F6C7-4F55-BB5C-90DAF0DE14B1}" destId="{EB2B9690-5C09-4F4C-9B90-6DD703578653}" srcOrd="0" destOrd="0" presId="urn:microsoft.com/office/officeart/2005/8/layout/hProcess9"/>
    <dgm:cxn modelId="{F6BBA8FD-7D2D-4F0F-933E-6848F5C08D7C}" type="presOf" srcId="{91F15A80-5AC6-4574-8AD5-30D6516C9E2F}" destId="{6DCCF6FC-0881-4755-8B41-48B9DE698B30}" srcOrd="0" destOrd="0" presId="urn:microsoft.com/office/officeart/2005/8/layout/hProcess9"/>
    <dgm:cxn modelId="{7688571B-5400-445A-9ADA-F52E3CC81272}" type="presParOf" srcId="{EB2B9690-5C09-4F4C-9B90-6DD703578653}" destId="{26AE0105-133E-4FF4-8816-8B4F92E66E75}" srcOrd="0" destOrd="0" presId="urn:microsoft.com/office/officeart/2005/8/layout/hProcess9"/>
    <dgm:cxn modelId="{75119976-26C3-4361-A867-94E73E446D3B}" type="presParOf" srcId="{EB2B9690-5C09-4F4C-9B90-6DD703578653}" destId="{9D6D4CED-C3A2-46AF-B90D-B5F7A9C8DC25}" srcOrd="1" destOrd="0" presId="urn:microsoft.com/office/officeart/2005/8/layout/hProcess9"/>
    <dgm:cxn modelId="{5B2D1C20-1E80-4B07-995C-59D2BBA156CB}" type="presParOf" srcId="{9D6D4CED-C3A2-46AF-B90D-B5F7A9C8DC25}" destId="{8A073C8C-7751-4CB9-A524-00CE45ACE0B6}" srcOrd="0" destOrd="0" presId="urn:microsoft.com/office/officeart/2005/8/layout/hProcess9"/>
    <dgm:cxn modelId="{E8BC1A3A-37C2-4160-91C1-0406B543ED85}" type="presParOf" srcId="{9D6D4CED-C3A2-46AF-B90D-B5F7A9C8DC25}" destId="{7F614FA5-81E8-4590-B8C8-9F80AA04ED7F}" srcOrd="1" destOrd="0" presId="urn:microsoft.com/office/officeart/2005/8/layout/hProcess9"/>
    <dgm:cxn modelId="{5564C4F2-DBF7-4846-BC2C-ACF65A81EC67}" type="presParOf" srcId="{9D6D4CED-C3A2-46AF-B90D-B5F7A9C8DC25}" destId="{6DCCF6FC-0881-4755-8B41-48B9DE698B30}" srcOrd="2" destOrd="0" presId="urn:microsoft.com/office/officeart/2005/8/layout/hProcess9"/>
    <dgm:cxn modelId="{FED67021-AE75-46F4-A0E7-92C833A28079}" type="presParOf" srcId="{9D6D4CED-C3A2-46AF-B90D-B5F7A9C8DC25}" destId="{85D7877B-9A68-44EE-BEDB-2C3587001E54}" srcOrd="3" destOrd="0" presId="urn:microsoft.com/office/officeart/2005/8/layout/hProcess9"/>
    <dgm:cxn modelId="{F1230E02-D780-42BF-A8E2-F2A29EAD9C57}" type="presParOf" srcId="{9D6D4CED-C3A2-46AF-B90D-B5F7A9C8DC25}" destId="{2CBB4BEF-1A89-49D3-9B59-B25A5049F2EB}" srcOrd="4" destOrd="0" presId="urn:microsoft.com/office/officeart/2005/8/layout/hProcess9"/>
    <dgm:cxn modelId="{78DCF646-BDE0-4D83-8F78-29EDFEAD5AF7}" type="presParOf" srcId="{9D6D4CED-C3A2-46AF-B90D-B5F7A9C8DC25}" destId="{42CAEE9A-7FFB-4C42-B1ED-16A2059EA047}" srcOrd="5" destOrd="0" presId="urn:microsoft.com/office/officeart/2005/8/layout/hProcess9"/>
    <dgm:cxn modelId="{3D482222-2752-4DFB-9D01-2AE5306C70BE}" type="presParOf" srcId="{9D6D4CED-C3A2-46AF-B90D-B5F7A9C8DC25}" destId="{62201053-D849-4FCD-B993-571EBFA5243E}" srcOrd="6" destOrd="0" presId="urn:microsoft.com/office/officeart/2005/8/layout/hProcess9"/>
    <dgm:cxn modelId="{FEAFEF48-D5E7-4307-B51E-B90CD2DFF2DF}" type="presParOf" srcId="{9D6D4CED-C3A2-46AF-B90D-B5F7A9C8DC25}" destId="{578FC630-A1E1-479C-99C2-977F66AFC56D}" srcOrd="7" destOrd="0" presId="urn:microsoft.com/office/officeart/2005/8/layout/hProcess9"/>
    <dgm:cxn modelId="{4095BDB7-43D7-4C05-AE44-A5D277A6ADB6}" type="presParOf" srcId="{9D6D4CED-C3A2-46AF-B90D-B5F7A9C8DC25}" destId="{B18664F0-C6BE-4C15-A7B4-20D1856CF816}" srcOrd="8" destOrd="0" presId="urn:microsoft.com/office/officeart/2005/8/layout/hProcess9"/>
    <dgm:cxn modelId="{E14F2FDD-65C2-42A4-868C-246C657C3C57}" type="presParOf" srcId="{9D6D4CED-C3A2-46AF-B90D-B5F7A9C8DC25}" destId="{5DBD0445-5ED5-4D39-967A-EFCC983DD71F}" srcOrd="9" destOrd="0" presId="urn:microsoft.com/office/officeart/2005/8/layout/hProcess9"/>
    <dgm:cxn modelId="{A53A6688-BC61-48E9-AE0F-8476F3A8F1DE}" type="presParOf" srcId="{9D6D4CED-C3A2-46AF-B90D-B5F7A9C8DC25}" destId="{83CB478F-3994-424B-8ED6-7023731B00A7}" srcOrd="10" destOrd="0" presId="urn:microsoft.com/office/officeart/2005/8/layout/hProcess9"/>
    <dgm:cxn modelId="{0CD0462B-58EB-43F6-837B-B6467864EBB5}" type="presParOf" srcId="{9D6D4CED-C3A2-46AF-B90D-B5F7A9C8DC25}" destId="{11FAB97C-73E1-455A-B065-C22832425F65}" srcOrd="11" destOrd="0" presId="urn:microsoft.com/office/officeart/2005/8/layout/hProcess9"/>
    <dgm:cxn modelId="{06100EBB-F505-49D0-A0A3-6130EC69B616}" type="presParOf" srcId="{9D6D4CED-C3A2-46AF-B90D-B5F7A9C8DC25}" destId="{62F2A9AF-22A1-407C-B1ED-D4475DDEF1DC}" srcOrd="12" destOrd="0" presId="urn:microsoft.com/office/officeart/2005/8/layout/hProcess9"/>
    <dgm:cxn modelId="{3FDB0764-A108-4F2A-B879-C6D660ABECC2}" type="presParOf" srcId="{9D6D4CED-C3A2-46AF-B90D-B5F7A9C8DC25}" destId="{D2ED9BFF-D53C-4C76-B730-F7CA334B26D7}" srcOrd="13" destOrd="0" presId="urn:microsoft.com/office/officeart/2005/8/layout/hProcess9"/>
    <dgm:cxn modelId="{723938DA-54E1-4133-884E-E7FD88A20E52}" type="presParOf" srcId="{9D6D4CED-C3A2-46AF-B90D-B5F7A9C8DC25}" destId="{A5A648B9-87AF-4CEF-B416-A1D97628CFB1}" srcOrd="1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F94F8AA-E008-4EFE-9AC1-AABB602556E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12BBA2F0-B8ED-4411-B54B-22D5899E4028}">
      <dgm:prSet phldrT="[Text]" custT="1"/>
      <dgm:spPr/>
      <dgm:t>
        <a:bodyPr/>
        <a:lstStyle/>
        <a:p>
          <a:r>
            <a:rPr lang="nb-NO" sz="1400"/>
            <a:t>Det blir fysiske kurs i hhv Trondheim, Gjøvik og Ålesund</a:t>
          </a:r>
        </a:p>
      </dgm:t>
    </dgm:pt>
    <dgm:pt modelId="{205EC97E-D891-4A75-B926-95285A863BD7}" type="parTrans" cxnId="{B8D9F1F9-C6D3-4DE0-B876-A27DF74C81CB}">
      <dgm:prSet/>
      <dgm:spPr/>
      <dgm:t>
        <a:bodyPr/>
        <a:lstStyle/>
        <a:p>
          <a:endParaRPr lang="nb-NO"/>
        </a:p>
      </dgm:t>
    </dgm:pt>
    <dgm:pt modelId="{DB500709-0816-477E-95CC-DB4B4AF48A79}" type="sibTrans" cxnId="{B8D9F1F9-C6D3-4DE0-B876-A27DF74C81CB}">
      <dgm:prSet/>
      <dgm:spPr/>
      <dgm:t>
        <a:bodyPr/>
        <a:lstStyle/>
        <a:p>
          <a:endParaRPr lang="nb-NO"/>
        </a:p>
      </dgm:t>
    </dgm:pt>
    <dgm:pt modelId="{AFCF822E-2DCC-40D3-8FBC-32F1B8852667}">
      <dgm:prSet phldrT="[Text]" custT="1"/>
      <dgm:spPr/>
      <dgm:t>
        <a:bodyPr/>
        <a:lstStyle/>
        <a:p>
          <a:r>
            <a:rPr lang="nb-NO" sz="1400"/>
            <a:t>Det sendes ut </a:t>
          </a:r>
          <a:r>
            <a:rPr lang="nb-NO" sz="1400" b="1"/>
            <a:t>kalenderinnkalling i Outlook </a:t>
          </a:r>
          <a:r>
            <a:rPr lang="nb-NO" sz="1400"/>
            <a:t>til alle kurs</a:t>
          </a:r>
        </a:p>
      </dgm:t>
    </dgm:pt>
    <dgm:pt modelId="{504CCEA1-2358-4218-AE52-2F38CCF26CA5}" type="parTrans" cxnId="{568E9300-FC87-4AF5-8342-ED5BD0F1FB51}">
      <dgm:prSet/>
      <dgm:spPr/>
      <dgm:t>
        <a:bodyPr/>
        <a:lstStyle/>
        <a:p>
          <a:endParaRPr lang="nb-NO"/>
        </a:p>
      </dgm:t>
    </dgm:pt>
    <dgm:pt modelId="{8BAF4F52-1871-4D57-8E42-AE61D8E45A81}" type="sibTrans" cxnId="{568E9300-FC87-4AF5-8342-ED5BD0F1FB51}">
      <dgm:prSet/>
      <dgm:spPr/>
      <dgm:t>
        <a:bodyPr/>
        <a:lstStyle/>
        <a:p>
          <a:endParaRPr lang="nb-NO"/>
        </a:p>
      </dgm:t>
    </dgm:pt>
    <dgm:pt modelId="{1E3929B8-3EDA-441B-9F40-2C9928CDDE6B}">
      <dgm:prSet phldrT="[Text]" custT="1"/>
      <dgm:spPr/>
      <dgm:t>
        <a:bodyPr/>
        <a:lstStyle/>
        <a:p>
          <a:r>
            <a:rPr lang="nb-NO" sz="1400"/>
            <a:t>Du får kalenderinnkalling og mer informasjon i Outlook</a:t>
          </a:r>
        </a:p>
      </dgm:t>
    </dgm:pt>
    <dgm:pt modelId="{F891072C-ECDE-4251-A9E8-A84744730B9B}" type="parTrans" cxnId="{A4824D48-1DDB-4069-B956-4AAC15C7DA36}">
      <dgm:prSet/>
      <dgm:spPr/>
      <dgm:t>
        <a:bodyPr/>
        <a:lstStyle/>
        <a:p>
          <a:endParaRPr lang="nb-NO"/>
        </a:p>
      </dgm:t>
    </dgm:pt>
    <dgm:pt modelId="{991AC1AB-B166-4401-B5A4-5329622D4169}" type="sibTrans" cxnId="{A4824D48-1DDB-4069-B956-4AAC15C7DA36}">
      <dgm:prSet/>
      <dgm:spPr/>
      <dgm:t>
        <a:bodyPr/>
        <a:lstStyle/>
        <a:p>
          <a:endParaRPr lang="nb-NO"/>
        </a:p>
      </dgm:t>
    </dgm:pt>
    <dgm:pt modelId="{104D81FE-D5C6-4EAF-B069-F2BA84CF305A}">
      <dgm:prSet phldrT="[Text]" custT="1"/>
      <dgm:spPr/>
      <dgm:t>
        <a:bodyPr/>
        <a:lstStyle/>
        <a:p>
          <a:r>
            <a:rPr lang="nb-NO" sz="1400"/>
            <a:t>Forespørsel om ønsket dato/ sted er sendt</a:t>
          </a:r>
        </a:p>
      </dgm:t>
    </dgm:pt>
    <dgm:pt modelId="{711F6D40-927B-4091-AF77-E842BD9B52C4}" type="parTrans" cxnId="{4B955A59-1BD9-446D-A2AD-BA12A716312C}">
      <dgm:prSet/>
      <dgm:spPr/>
      <dgm:t>
        <a:bodyPr/>
        <a:lstStyle/>
        <a:p>
          <a:endParaRPr lang="nb-NO"/>
        </a:p>
      </dgm:t>
    </dgm:pt>
    <dgm:pt modelId="{E75EDFBD-7F7C-4061-8E19-25A7709CB1C4}" type="sibTrans" cxnId="{4B955A59-1BD9-446D-A2AD-BA12A716312C}">
      <dgm:prSet/>
      <dgm:spPr/>
      <dgm:t>
        <a:bodyPr/>
        <a:lstStyle/>
        <a:p>
          <a:endParaRPr lang="nb-NO"/>
        </a:p>
      </dgm:t>
    </dgm:pt>
    <dgm:pt modelId="{FB5920AB-A8EE-4C8F-AF74-8D162F0ACA9B}">
      <dgm:prSet phldrT="[Text]" custT="1"/>
      <dgm:spPr/>
      <dgm:t>
        <a:bodyPr/>
        <a:lstStyle/>
        <a:p>
          <a:r>
            <a:rPr lang="nb-NO" sz="1400"/>
            <a:t>Heldag</a:t>
          </a:r>
        </a:p>
      </dgm:t>
    </dgm:pt>
    <dgm:pt modelId="{863A5B95-F94D-4EF7-8979-3F1D36210A21}" type="parTrans" cxnId="{EAB96FC2-2EB1-4861-B51C-48B90D4B9964}">
      <dgm:prSet/>
      <dgm:spPr/>
      <dgm:t>
        <a:bodyPr/>
        <a:lstStyle/>
        <a:p>
          <a:endParaRPr lang="nb-NO"/>
        </a:p>
      </dgm:t>
    </dgm:pt>
    <dgm:pt modelId="{9D470C67-D86A-41D7-8C13-D416EF88902B}" type="sibTrans" cxnId="{EAB96FC2-2EB1-4861-B51C-48B90D4B9964}">
      <dgm:prSet/>
      <dgm:spPr/>
      <dgm:t>
        <a:bodyPr/>
        <a:lstStyle/>
        <a:p>
          <a:endParaRPr lang="nb-NO"/>
        </a:p>
      </dgm:t>
    </dgm:pt>
    <dgm:pt modelId="{100F978F-2C63-4AD4-BE0B-FA4470358842}">
      <dgm:prSet phldrT="[Text]" custT="1"/>
      <dgm:spPr/>
      <dgm:t>
        <a:bodyPr/>
        <a:lstStyle/>
        <a:p>
          <a:r>
            <a:rPr lang="nb-NO" sz="1400"/>
            <a:t>Ha med egen PC – ha med grunnlag for budsjettering av min. 2 konverterte prosjekter</a:t>
          </a:r>
        </a:p>
      </dgm:t>
    </dgm:pt>
    <dgm:pt modelId="{C62D623D-66A7-48C7-9F2D-1F01A06A03B3}" type="parTrans" cxnId="{CD2E5189-4F1F-4C71-B175-FF606D525F79}">
      <dgm:prSet/>
      <dgm:spPr/>
      <dgm:t>
        <a:bodyPr/>
        <a:lstStyle/>
        <a:p>
          <a:endParaRPr lang="nb-NO"/>
        </a:p>
      </dgm:t>
    </dgm:pt>
    <dgm:pt modelId="{AD89B078-0C13-48AD-AEEA-892B8DF27EC6}" type="sibTrans" cxnId="{CD2E5189-4F1F-4C71-B175-FF606D525F79}">
      <dgm:prSet/>
      <dgm:spPr/>
      <dgm:t>
        <a:bodyPr/>
        <a:lstStyle/>
        <a:p>
          <a:endParaRPr lang="nb-NO"/>
        </a:p>
      </dgm:t>
    </dgm:pt>
    <dgm:pt modelId="{D3345ADD-A32B-4ADC-BCA3-8F48B797F794}">
      <dgm:prSet phldrT="[Text]" custT="1"/>
      <dgm:spPr/>
      <dgm:t>
        <a:bodyPr/>
        <a:lstStyle/>
        <a:p>
          <a:endParaRPr lang="nb-NO" sz="1400"/>
        </a:p>
      </dgm:t>
    </dgm:pt>
    <dgm:pt modelId="{6A42ED3C-086E-4422-ABE6-9D063E079292}" type="parTrans" cxnId="{DF1C628B-3E15-4583-B4F7-CFE29240B3E7}">
      <dgm:prSet/>
      <dgm:spPr/>
      <dgm:t>
        <a:bodyPr/>
        <a:lstStyle/>
        <a:p>
          <a:endParaRPr lang="nb-NO"/>
        </a:p>
      </dgm:t>
    </dgm:pt>
    <dgm:pt modelId="{A7F0A7E2-AF2B-47FF-90E5-868329E2A5A9}" type="sibTrans" cxnId="{DF1C628B-3E15-4583-B4F7-CFE29240B3E7}">
      <dgm:prSet/>
      <dgm:spPr/>
      <dgm:t>
        <a:bodyPr/>
        <a:lstStyle/>
        <a:p>
          <a:endParaRPr lang="nb-NO"/>
        </a:p>
      </dgm:t>
    </dgm:pt>
    <dgm:pt modelId="{94739FBE-4350-408D-B1B1-CE7A09FA8D78}" type="pres">
      <dgm:prSet presAssocID="{2F94F8AA-E008-4EFE-9AC1-AABB602556E3}" presName="linear" presStyleCnt="0">
        <dgm:presLayoutVars>
          <dgm:animLvl val="lvl"/>
          <dgm:resizeHandles val="exact"/>
        </dgm:presLayoutVars>
      </dgm:prSet>
      <dgm:spPr/>
    </dgm:pt>
    <dgm:pt modelId="{CB3581E3-CBF4-4C37-82D9-EC8AB0BAC01C}" type="pres">
      <dgm:prSet presAssocID="{12BBA2F0-B8ED-4411-B54B-22D5899E4028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4256ADFF-8274-4F6F-ABAA-5B5F9B144E01}" type="pres">
      <dgm:prSet presAssocID="{12BBA2F0-B8ED-4411-B54B-22D5899E4028}" presName="childText" presStyleLbl="revTx" presStyleIdx="0" presStyleCnt="2">
        <dgm:presLayoutVars>
          <dgm:bulletEnabled val="1"/>
        </dgm:presLayoutVars>
      </dgm:prSet>
      <dgm:spPr/>
    </dgm:pt>
    <dgm:pt modelId="{D2724AE2-EB22-46F6-AACA-30DB703321F1}" type="pres">
      <dgm:prSet presAssocID="{AFCF822E-2DCC-40D3-8FBC-32F1B8852667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8DE30CD0-05CE-4086-A6CA-E914762407D1}" type="pres">
      <dgm:prSet presAssocID="{AFCF822E-2DCC-40D3-8FBC-32F1B8852667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568E9300-FC87-4AF5-8342-ED5BD0F1FB51}" srcId="{2F94F8AA-E008-4EFE-9AC1-AABB602556E3}" destId="{AFCF822E-2DCC-40D3-8FBC-32F1B8852667}" srcOrd="1" destOrd="0" parTransId="{504CCEA1-2358-4218-AE52-2F38CCF26CA5}" sibTransId="{8BAF4F52-1871-4D57-8E42-AE61D8E45A81}"/>
    <dgm:cxn modelId="{B369F003-0DB1-45D5-9C3F-E7DB40C7DC42}" type="presOf" srcId="{D3345ADD-A32B-4ADC-BCA3-8F48B797F794}" destId="{4256ADFF-8274-4F6F-ABAA-5B5F9B144E01}" srcOrd="0" destOrd="3" presId="urn:microsoft.com/office/officeart/2005/8/layout/vList2"/>
    <dgm:cxn modelId="{85C5163F-AC4B-42AF-8B01-6F415912EC2C}" type="presOf" srcId="{12BBA2F0-B8ED-4411-B54B-22D5899E4028}" destId="{CB3581E3-CBF4-4C37-82D9-EC8AB0BAC01C}" srcOrd="0" destOrd="0" presId="urn:microsoft.com/office/officeart/2005/8/layout/vList2"/>
    <dgm:cxn modelId="{F27F3341-119B-40F7-9188-E472D0CDBA2B}" type="presOf" srcId="{100F978F-2C63-4AD4-BE0B-FA4470358842}" destId="{4256ADFF-8274-4F6F-ABAA-5B5F9B144E01}" srcOrd="0" destOrd="1" presId="urn:microsoft.com/office/officeart/2005/8/layout/vList2"/>
    <dgm:cxn modelId="{A4824D48-1DDB-4069-B956-4AAC15C7DA36}" srcId="{AFCF822E-2DCC-40D3-8FBC-32F1B8852667}" destId="{1E3929B8-3EDA-441B-9F40-2C9928CDDE6B}" srcOrd="0" destOrd="0" parTransId="{F891072C-ECDE-4251-A9E8-A84744730B9B}" sibTransId="{991AC1AB-B166-4401-B5A4-5329622D4169}"/>
    <dgm:cxn modelId="{35F2DC49-17F9-410F-AE1D-D4812EDA105D}" type="presOf" srcId="{AFCF822E-2DCC-40D3-8FBC-32F1B8852667}" destId="{D2724AE2-EB22-46F6-AACA-30DB703321F1}" srcOrd="0" destOrd="0" presId="urn:microsoft.com/office/officeart/2005/8/layout/vList2"/>
    <dgm:cxn modelId="{4B955A59-1BD9-446D-A2AD-BA12A716312C}" srcId="{12BBA2F0-B8ED-4411-B54B-22D5899E4028}" destId="{104D81FE-D5C6-4EAF-B069-F2BA84CF305A}" srcOrd="2" destOrd="0" parTransId="{711F6D40-927B-4091-AF77-E842BD9B52C4}" sibTransId="{E75EDFBD-7F7C-4061-8E19-25A7709CB1C4}"/>
    <dgm:cxn modelId="{2C3A7583-90E7-4863-BCFA-0D6825C52166}" type="presOf" srcId="{104D81FE-D5C6-4EAF-B069-F2BA84CF305A}" destId="{4256ADFF-8274-4F6F-ABAA-5B5F9B144E01}" srcOrd="0" destOrd="2" presId="urn:microsoft.com/office/officeart/2005/8/layout/vList2"/>
    <dgm:cxn modelId="{CD2E5189-4F1F-4C71-B175-FF606D525F79}" srcId="{12BBA2F0-B8ED-4411-B54B-22D5899E4028}" destId="{100F978F-2C63-4AD4-BE0B-FA4470358842}" srcOrd="1" destOrd="0" parTransId="{C62D623D-66A7-48C7-9F2D-1F01A06A03B3}" sibTransId="{AD89B078-0C13-48AD-AEEA-892B8DF27EC6}"/>
    <dgm:cxn modelId="{DF1C628B-3E15-4583-B4F7-CFE29240B3E7}" srcId="{12BBA2F0-B8ED-4411-B54B-22D5899E4028}" destId="{D3345ADD-A32B-4ADC-BCA3-8F48B797F794}" srcOrd="3" destOrd="0" parTransId="{6A42ED3C-086E-4422-ABE6-9D063E079292}" sibTransId="{A7F0A7E2-AF2B-47FF-90E5-868329E2A5A9}"/>
    <dgm:cxn modelId="{482D18A8-56B3-4BB0-AACB-F1A7D3E553E9}" type="presOf" srcId="{FB5920AB-A8EE-4C8F-AF74-8D162F0ACA9B}" destId="{4256ADFF-8274-4F6F-ABAA-5B5F9B144E01}" srcOrd="0" destOrd="0" presId="urn:microsoft.com/office/officeart/2005/8/layout/vList2"/>
    <dgm:cxn modelId="{DD26FFB6-13E4-4D51-B5BD-2407F0A349CB}" type="presOf" srcId="{2F94F8AA-E008-4EFE-9AC1-AABB602556E3}" destId="{94739FBE-4350-408D-B1B1-CE7A09FA8D78}" srcOrd="0" destOrd="0" presId="urn:microsoft.com/office/officeart/2005/8/layout/vList2"/>
    <dgm:cxn modelId="{FB8FDBBF-6D69-4134-B85E-486470E75CE9}" type="presOf" srcId="{1E3929B8-3EDA-441B-9F40-2C9928CDDE6B}" destId="{8DE30CD0-05CE-4086-A6CA-E914762407D1}" srcOrd="0" destOrd="0" presId="urn:microsoft.com/office/officeart/2005/8/layout/vList2"/>
    <dgm:cxn modelId="{EAB96FC2-2EB1-4861-B51C-48B90D4B9964}" srcId="{12BBA2F0-B8ED-4411-B54B-22D5899E4028}" destId="{FB5920AB-A8EE-4C8F-AF74-8D162F0ACA9B}" srcOrd="0" destOrd="0" parTransId="{863A5B95-F94D-4EF7-8979-3F1D36210A21}" sibTransId="{9D470C67-D86A-41D7-8C13-D416EF88902B}"/>
    <dgm:cxn modelId="{B8D9F1F9-C6D3-4DE0-B876-A27DF74C81CB}" srcId="{2F94F8AA-E008-4EFE-9AC1-AABB602556E3}" destId="{12BBA2F0-B8ED-4411-B54B-22D5899E4028}" srcOrd="0" destOrd="0" parTransId="{205EC97E-D891-4A75-B926-95285A863BD7}" sibTransId="{DB500709-0816-477E-95CC-DB4B4AF48A79}"/>
    <dgm:cxn modelId="{3C712DAC-EA5C-4DF4-B54D-59DD9ABCDA56}" type="presParOf" srcId="{94739FBE-4350-408D-B1B1-CE7A09FA8D78}" destId="{CB3581E3-CBF4-4C37-82D9-EC8AB0BAC01C}" srcOrd="0" destOrd="0" presId="urn:microsoft.com/office/officeart/2005/8/layout/vList2"/>
    <dgm:cxn modelId="{7F58DB06-C562-4DF3-A8ED-FB3F32A1356A}" type="presParOf" srcId="{94739FBE-4350-408D-B1B1-CE7A09FA8D78}" destId="{4256ADFF-8274-4F6F-ABAA-5B5F9B144E01}" srcOrd="1" destOrd="0" presId="urn:microsoft.com/office/officeart/2005/8/layout/vList2"/>
    <dgm:cxn modelId="{DF2BB531-AC32-48AD-8992-B0F38B85A2AA}" type="presParOf" srcId="{94739FBE-4350-408D-B1B1-CE7A09FA8D78}" destId="{D2724AE2-EB22-46F6-AACA-30DB703321F1}" srcOrd="2" destOrd="0" presId="urn:microsoft.com/office/officeart/2005/8/layout/vList2"/>
    <dgm:cxn modelId="{E3FE0E65-3DE5-469A-BDE2-6ACA4086D6FC}" type="presParOf" srcId="{94739FBE-4350-408D-B1B1-CE7A09FA8D78}" destId="{8DE30CD0-05CE-4086-A6CA-E914762407D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AE269F-53FC-4308-A828-F361FB26BBFE}">
      <dsp:nvSpPr>
        <dsp:cNvPr id="0" name=""/>
        <dsp:cNvSpPr/>
      </dsp:nvSpPr>
      <dsp:spPr>
        <a:xfrm rot="16200000">
          <a:off x="508000" y="-508000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Brukerstøtte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Ekstra brukerstøtte ved oppstart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Teams-rom/ kanaler for utvalgte roller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Nettsid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Font typeface="Arial" panose="020B0604020202020204" pitchFamily="34" charset="0"/>
            <a:buNone/>
          </a:pPr>
          <a:r>
            <a:rPr lang="nb-NO" sz="1200" kern="1200"/>
            <a:t>- Mulighet for </a:t>
          </a:r>
          <a:r>
            <a:rPr lang="nb-NO" sz="1200" kern="1200" err="1"/>
            <a:t>webinarer</a:t>
          </a:r>
          <a:r>
            <a:rPr lang="nb-NO" sz="1200" kern="1200"/>
            <a:t> for utvalgte tema</a:t>
          </a:r>
        </a:p>
      </dsp:txBody>
      <dsp:txXfrm rot="5400000">
        <a:off x="0" y="0"/>
        <a:ext cx="3048000" cy="1524000"/>
      </dsp:txXfrm>
    </dsp:sp>
    <dsp:sp modelId="{C641786F-1105-4E7D-B43F-59DDA91D0A9C}">
      <dsp:nvSpPr>
        <dsp:cNvPr id="0" name=""/>
        <dsp:cNvSpPr/>
      </dsp:nvSpPr>
      <dsp:spPr>
        <a:xfrm>
          <a:off x="3034405" y="0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NTNU Spesifikt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kern="1200"/>
            <a:t>- NTNU Kurs før og etter DFØ systemopp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0" kern="1200">
              <a:latin typeface="Arial" panose="020B0604020202020204"/>
            </a:rPr>
            <a:t>- Informasjonsmøter og </a:t>
          </a:r>
          <a:r>
            <a:rPr lang="nb-NO" sz="1200" b="0" kern="1200" err="1">
              <a:latin typeface="Arial" panose="020B0604020202020204"/>
            </a:rPr>
            <a:t>webinarer</a:t>
          </a:r>
          <a:r>
            <a:rPr lang="nb-NO" sz="1200" b="0" kern="1200">
              <a:latin typeface="Arial" panose="020B0604020202020204"/>
            </a:rPr>
            <a:t> om spesielle tema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0" kern="1200">
            <a:latin typeface="Arial" panose="020B0604020202020204"/>
          </a:endParaRPr>
        </a:p>
      </dsp:txBody>
      <dsp:txXfrm>
        <a:off x="3034405" y="0"/>
        <a:ext cx="3048000" cy="1524000"/>
      </dsp:txXfrm>
    </dsp:sp>
    <dsp:sp modelId="{B552DEAA-B732-4475-A930-7DF6F868DE27}">
      <dsp:nvSpPr>
        <dsp:cNvPr id="0" name=""/>
        <dsp:cNvSpPr/>
      </dsp:nvSpPr>
      <dsp:spPr>
        <a:xfrm rot="10800000">
          <a:off x="0" y="2023587"/>
          <a:ext cx="3048000" cy="2032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DFØ Systemopplæring 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Webinarer</a:t>
          </a:r>
        </a:p>
        <a:p>
          <a:pPr marL="0" lvl="0" indent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b="0" kern="1200"/>
            <a:t>- Trykkekurs for noen roller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kern="1200"/>
        </a:p>
      </dsp:txBody>
      <dsp:txXfrm rot="10800000">
        <a:off x="0" y="2531587"/>
        <a:ext cx="3048000" cy="1524000"/>
      </dsp:txXfrm>
    </dsp:sp>
    <dsp:sp modelId="{733116BF-33AC-40D9-ABAB-F1408D18153E}">
      <dsp:nvSpPr>
        <dsp:cNvPr id="0" name=""/>
        <dsp:cNvSpPr/>
      </dsp:nvSpPr>
      <dsp:spPr>
        <a:xfrm rot="5400000">
          <a:off x="3556000" y="1523999"/>
          <a:ext cx="2032000" cy="3048000"/>
        </a:xfrm>
        <a:prstGeom prst="round1Rect">
          <a:avLst/>
        </a:prstGeom>
        <a:solidFill>
          <a:schemeClr val="accent1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/>
            <a:t>Egen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BOTT ØL e-læring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nb-NO" sz="1200" kern="1200"/>
            <a:t>- DFØ Systemvideoer</a:t>
          </a:r>
          <a:br>
            <a:rPr lang="nb-NO" sz="1200" kern="1200"/>
          </a:br>
          <a:r>
            <a:rPr lang="nb-NO" sz="1200" kern="1200"/>
            <a:t>- DFØ e-læring</a:t>
          </a:r>
          <a:br>
            <a:rPr lang="nb-NO" sz="1200" kern="1200"/>
          </a:br>
          <a:r>
            <a:rPr lang="nb-NO" sz="1200" kern="1200"/>
            <a:t>- NTNU videokurs</a:t>
          </a:r>
        </a:p>
      </dsp:txBody>
      <dsp:txXfrm rot="-5400000">
        <a:off x="3048000" y="2539999"/>
        <a:ext cx="3048000" cy="1524000"/>
      </dsp:txXfrm>
    </dsp:sp>
    <dsp:sp modelId="{81375138-22FA-4DF7-935E-8921C252465F}">
      <dsp:nvSpPr>
        <dsp:cNvPr id="0" name=""/>
        <dsp:cNvSpPr/>
      </dsp:nvSpPr>
      <dsp:spPr>
        <a:xfrm>
          <a:off x="2133600" y="1523999"/>
          <a:ext cx="1828800" cy="10160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200" b="1" kern="1200">
              <a:solidFill>
                <a:schemeClr val="bg1"/>
              </a:solidFill>
            </a:rPr>
            <a:t>Opplæringsplan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200" b="1" kern="1200">
            <a:solidFill>
              <a:schemeClr val="bg1"/>
            </a:solidFill>
          </a:endParaRPr>
        </a:p>
      </dsp:txBody>
      <dsp:txXfrm>
        <a:off x="2183197" y="1573596"/>
        <a:ext cx="1729606" cy="91680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AE0105-133E-4FF4-8816-8B4F92E66E75}">
      <dsp:nvSpPr>
        <dsp:cNvPr id="0" name=""/>
        <dsp:cNvSpPr/>
      </dsp:nvSpPr>
      <dsp:spPr>
        <a:xfrm>
          <a:off x="4" y="0"/>
          <a:ext cx="8630648" cy="3668514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073C8C-7751-4CB9-A524-00CE45ACE0B6}">
      <dsp:nvSpPr>
        <dsp:cNvPr id="0" name=""/>
        <dsp:cNvSpPr/>
      </dsp:nvSpPr>
      <dsp:spPr>
        <a:xfrm>
          <a:off x="47207" y="1100554"/>
          <a:ext cx="91921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Kurs 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b="0" kern="1200"/>
            <a:t>Introduksjon til opplæring </a:t>
          </a:r>
          <a:r>
            <a:rPr lang="nb-NO" sz="900" kern="1200"/>
            <a:t>og egenlæring for rolle og prosess</a:t>
          </a:r>
        </a:p>
      </dsp:txBody>
      <dsp:txXfrm>
        <a:off x="92079" y="1145426"/>
        <a:ext cx="829468" cy="1377661"/>
      </dsp:txXfrm>
    </dsp:sp>
    <dsp:sp modelId="{6DCCF6FC-0881-4755-8B41-48B9DE698B30}">
      <dsp:nvSpPr>
        <dsp:cNvPr id="0" name=""/>
        <dsp:cNvSpPr/>
      </dsp:nvSpPr>
      <dsp:spPr>
        <a:xfrm>
          <a:off x="1059069" y="1100554"/>
          <a:ext cx="961296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E-læring for rolle og proses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Økonomi-modell – videoku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Lokal oppfølging</a:t>
          </a:r>
        </a:p>
      </dsp:txBody>
      <dsp:txXfrm>
        <a:off x="1105996" y="1147481"/>
        <a:ext cx="867442" cy="1373551"/>
      </dsp:txXfrm>
    </dsp:sp>
    <dsp:sp modelId="{2CBB4BEF-1A89-49D3-9B59-B25A5049F2EB}">
      <dsp:nvSpPr>
        <dsp:cNvPr id="0" name=""/>
        <dsp:cNvSpPr/>
      </dsp:nvSpPr>
      <dsp:spPr>
        <a:xfrm>
          <a:off x="2155641" y="1100554"/>
          <a:ext cx="935899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NTNU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Kurs 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Prosjekt-budsjette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(fysisk kurs)</a:t>
          </a:r>
        </a:p>
      </dsp:txBody>
      <dsp:txXfrm>
        <a:off x="2201328" y="1146241"/>
        <a:ext cx="844525" cy="1376031"/>
      </dsp:txXfrm>
    </dsp:sp>
    <dsp:sp modelId="{62201053-D849-4FCD-B993-571EBFA5243E}">
      <dsp:nvSpPr>
        <dsp:cNvPr id="0" name=""/>
        <dsp:cNvSpPr/>
      </dsp:nvSpPr>
      <dsp:spPr>
        <a:xfrm>
          <a:off x="3226816" y="1100554"/>
          <a:ext cx="1009370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Egenlæring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Repetisjon / oppslag etter opplæring og ved oppstart</a:t>
          </a:r>
        </a:p>
      </dsp:txBody>
      <dsp:txXfrm>
        <a:off x="3276089" y="1149827"/>
        <a:ext cx="910824" cy="1368859"/>
      </dsp:txXfrm>
    </dsp:sp>
    <dsp:sp modelId="{B18664F0-C6BE-4C15-A7B4-20D1856CF816}">
      <dsp:nvSpPr>
        <dsp:cNvPr id="0" name=""/>
        <dsp:cNvSpPr/>
      </dsp:nvSpPr>
      <dsp:spPr>
        <a:xfrm>
          <a:off x="4371463" y="1100554"/>
          <a:ext cx="99919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Fra 8.12 ukentlig Fagcafé</a:t>
          </a:r>
        </a:p>
      </dsp:txBody>
      <dsp:txXfrm>
        <a:off x="4420240" y="1149331"/>
        <a:ext cx="901638" cy="1369851"/>
      </dsp:txXfrm>
    </dsp:sp>
    <dsp:sp modelId="{83CB478F-3994-424B-8ED6-7023731B00A7}">
      <dsp:nvSpPr>
        <dsp:cNvPr id="0" name=""/>
        <dsp:cNvSpPr/>
      </dsp:nvSpPr>
      <dsp:spPr>
        <a:xfrm>
          <a:off x="5505931" y="1100554"/>
          <a:ext cx="811652" cy="1467405"/>
        </a:xfrm>
        <a:prstGeom prst="round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FTI-prosessen</a:t>
          </a:r>
        </a:p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nb-NO" sz="1000" b="0" kern="1200"/>
            <a:t>Faktura-ansvarlig PØ</a:t>
          </a:r>
        </a:p>
        <a:p>
          <a:pPr marL="57150" lvl="1" indent="-57150" algn="ctr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nb-NO" sz="1000" b="0" kern="1200"/>
            <a:t>Salgsordreoppretter  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</a:pPr>
          <a:endParaRPr lang="nb-NO" sz="1000" b="0" kern="1200"/>
        </a:p>
      </dsp:txBody>
      <dsp:txXfrm>
        <a:off x="5545553" y="1140176"/>
        <a:ext cx="732408" cy="1388161"/>
      </dsp:txXfrm>
    </dsp:sp>
    <dsp:sp modelId="{62F2A9AF-22A1-407C-B1ED-D4475DDEF1DC}">
      <dsp:nvSpPr>
        <dsp:cNvPr id="0" name=""/>
        <dsp:cNvSpPr/>
      </dsp:nvSpPr>
      <dsp:spPr>
        <a:xfrm>
          <a:off x="6452858" y="1100554"/>
          <a:ext cx="811652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Bruker-støtt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Innsid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NTNU Hjelp</a:t>
          </a:r>
          <a:r>
            <a:rPr lang="nb-NO" sz="1000" b="1" kern="1200"/>
            <a:t> </a:t>
          </a:r>
          <a:endParaRPr lang="nb-NO" sz="1000" kern="1200"/>
        </a:p>
      </dsp:txBody>
      <dsp:txXfrm>
        <a:off x="6492480" y="1140176"/>
        <a:ext cx="732408" cy="1388161"/>
      </dsp:txXfrm>
    </dsp:sp>
    <dsp:sp modelId="{A5A648B9-87AF-4CEF-B416-A1D97628CFB1}">
      <dsp:nvSpPr>
        <dsp:cNvPr id="0" name=""/>
        <dsp:cNvSpPr/>
      </dsp:nvSpPr>
      <dsp:spPr>
        <a:xfrm>
          <a:off x="7399786" y="1100554"/>
          <a:ext cx="1226284" cy="146740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1" kern="1200"/>
            <a:t>Vår 2023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Kurs i frikjøp, prosjektfakturering og prosjektopprettels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b="0" kern="1200"/>
            <a:t>(fysiske kurs)</a:t>
          </a:r>
        </a:p>
      </dsp:txBody>
      <dsp:txXfrm>
        <a:off x="7459648" y="1160416"/>
        <a:ext cx="1106560" cy="13476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3581E3-CBF4-4C37-82D9-EC8AB0BAC01C}">
      <dsp:nvSpPr>
        <dsp:cNvPr id="0" name=""/>
        <dsp:cNvSpPr/>
      </dsp:nvSpPr>
      <dsp:spPr>
        <a:xfrm>
          <a:off x="0" y="18374"/>
          <a:ext cx="6927663" cy="6364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blir fysiske kurs i hhv Trondheim, Gjøvik og Ålesund</a:t>
          </a:r>
        </a:p>
      </dsp:txBody>
      <dsp:txXfrm>
        <a:off x="31070" y="49444"/>
        <a:ext cx="6865523" cy="574340"/>
      </dsp:txXfrm>
    </dsp:sp>
    <dsp:sp modelId="{4256ADFF-8274-4F6F-ABAA-5B5F9B144E01}">
      <dsp:nvSpPr>
        <dsp:cNvPr id="0" name=""/>
        <dsp:cNvSpPr/>
      </dsp:nvSpPr>
      <dsp:spPr>
        <a:xfrm>
          <a:off x="0" y="654854"/>
          <a:ext cx="6927663" cy="897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995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Helda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Ha med egen PC – ha med grunnlag for budsjettering av min. 2 konverterte prosjekte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Forespørsel om ønsket dato/ sted er send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endParaRPr lang="nb-NO" sz="1400" kern="1200"/>
        </a:p>
      </dsp:txBody>
      <dsp:txXfrm>
        <a:off x="0" y="654854"/>
        <a:ext cx="6927663" cy="897345"/>
      </dsp:txXfrm>
    </dsp:sp>
    <dsp:sp modelId="{D2724AE2-EB22-46F6-AACA-30DB703321F1}">
      <dsp:nvSpPr>
        <dsp:cNvPr id="0" name=""/>
        <dsp:cNvSpPr/>
      </dsp:nvSpPr>
      <dsp:spPr>
        <a:xfrm>
          <a:off x="0" y="1552199"/>
          <a:ext cx="6927663" cy="6364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/>
            <a:t>Det sendes ut </a:t>
          </a:r>
          <a:r>
            <a:rPr lang="nb-NO" sz="1400" b="1" kern="1200"/>
            <a:t>kalenderinnkalling i Outlook </a:t>
          </a:r>
          <a:r>
            <a:rPr lang="nb-NO" sz="1400" kern="1200"/>
            <a:t>til alle kurs</a:t>
          </a:r>
        </a:p>
      </dsp:txBody>
      <dsp:txXfrm>
        <a:off x="31070" y="1583269"/>
        <a:ext cx="6865523" cy="574340"/>
      </dsp:txXfrm>
    </dsp:sp>
    <dsp:sp modelId="{8DE30CD0-05CE-4086-A6CA-E914762407D1}">
      <dsp:nvSpPr>
        <dsp:cNvPr id="0" name=""/>
        <dsp:cNvSpPr/>
      </dsp:nvSpPr>
      <dsp:spPr>
        <a:xfrm>
          <a:off x="0" y="2188679"/>
          <a:ext cx="6927663" cy="5630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9953" tIns="17780" rIns="99568" bIns="17780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nb-NO" sz="1400" kern="1200"/>
            <a:t>Du får kalenderinnkalling og mer informasjon i Outlook</a:t>
          </a:r>
        </a:p>
      </dsp:txBody>
      <dsp:txXfrm>
        <a:off x="0" y="2188679"/>
        <a:ext cx="6927663" cy="5630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0.09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Skal vi bare skrive Prosjektøkonomi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Generell modell for opplæring i BOTT ØL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02711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881494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46971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B! Første gang du skal melde deg på e-læring må du ha logget det på mitt UiB med Feide-pålogging før du starter kurset. Veiledning på Innsid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9361447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54020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81511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02035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2256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84313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usk prosessrådgivere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22404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Fag: Kanskje litt mer om frister og konverteringsarbeidet </a:t>
            </a:r>
          </a:p>
          <a:p>
            <a:r>
              <a:rPr lang="nb-NO"/>
              <a:t>Opplæring: Veldig rollebasert, nevne at mange har flere </a:t>
            </a:r>
            <a:r>
              <a:rPr lang="nb-NO" err="1"/>
              <a:t>ndre</a:t>
            </a:r>
            <a:r>
              <a:rPr lang="nb-NO"/>
              <a:t> roller i tillegg </a:t>
            </a:r>
          </a:p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88195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37370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Viktig å formidle hvorfor vi gjør dette og </a:t>
            </a:r>
            <a:r>
              <a:rPr lang="nb-NO" err="1"/>
              <a:t>forventningstyre</a:t>
            </a:r>
            <a:r>
              <a:rPr lang="nb-NO"/>
              <a:t> </a:t>
            </a:r>
            <a:r>
              <a:rPr lang="nb-NO" err="1"/>
              <a:t>mht</a:t>
            </a:r>
            <a:r>
              <a:rPr lang="nb-NO"/>
              <a:t> utfordringer knyttet til kapasitet i </a:t>
            </a:r>
            <a:r>
              <a:rPr lang="nb-NO" err="1"/>
              <a:t>organisjonen</a:t>
            </a:r>
            <a:r>
              <a:rPr lang="nb-NO"/>
              <a:t>, endringsbehov </a:t>
            </a:r>
            <a:r>
              <a:rPr lang="nb-NO" err="1"/>
              <a:t>osv</a:t>
            </a:r>
            <a:endParaRPr lang="nb-NO"/>
          </a:p>
          <a:p>
            <a:endParaRPr lang="nb-NO"/>
          </a:p>
          <a:p>
            <a:r>
              <a:rPr lang="nb-NO"/>
              <a:t>Formålet med BOTT: </a:t>
            </a:r>
            <a:r>
              <a:rPr lang="nb-NO" b="0" i="0">
                <a:solidFill>
                  <a:srgbClr val="444444"/>
                </a:solidFill>
                <a:effectLst/>
                <a:latin typeface="Arial" panose="020B0604020202020204" pitchFamily="34" charset="0"/>
              </a:rPr>
              <a:t>Å styrke universitetenes evne til å levere administrative og tekniske tjenester som støtter opp om primærvirksomheten.</a:t>
            </a:r>
            <a:endParaRPr lang="nb-NO"/>
          </a:p>
          <a:p>
            <a:endParaRPr lang="nb-NO"/>
          </a:p>
          <a:p>
            <a:r>
              <a:rPr lang="nb-NO"/>
              <a:t>Understreke hvorfor vi gjør dette: </a:t>
            </a:r>
          </a:p>
          <a:p>
            <a:pPr marL="228600" indent="-228600">
              <a:buAutoNum type="arabicParenR"/>
            </a:pPr>
            <a:r>
              <a:rPr lang="nb-NO"/>
              <a:t>Utdatert systemer man ikke får </a:t>
            </a:r>
            <a:r>
              <a:rPr lang="nb-NO" err="1"/>
              <a:t>systemstøtte</a:t>
            </a:r>
            <a:r>
              <a:rPr lang="nb-NO"/>
              <a:t> på lenger</a:t>
            </a:r>
          </a:p>
          <a:p>
            <a:pPr marL="228600" indent="-228600">
              <a:buAutoNum type="arabicParenR"/>
            </a:pPr>
            <a:r>
              <a:rPr lang="nb-NO"/>
              <a:t>Samarbeid – med muligheter for gevinster på sikt</a:t>
            </a:r>
          </a:p>
          <a:p>
            <a:pPr marL="228600" indent="-228600">
              <a:buAutoNum type="arabicParenR"/>
            </a:pPr>
            <a:r>
              <a:rPr lang="nb-NO"/>
              <a:t>På noen viktige områder for vi skreddersydd en del funksjon</a:t>
            </a:r>
          </a:p>
          <a:p>
            <a:pPr marL="228600" indent="-228600">
              <a:buAutoNum type="arabicParenR"/>
            </a:pPr>
            <a:r>
              <a:rPr lang="nb-NO"/>
              <a:t>Mot et mer </a:t>
            </a:r>
            <a:r>
              <a:rPr lang="nb-NO" err="1"/>
              <a:t>standarisert</a:t>
            </a:r>
            <a:r>
              <a:rPr lang="nb-NO"/>
              <a:t> og felles NTNU</a:t>
            </a:r>
          </a:p>
          <a:p>
            <a:pPr marL="228600" indent="-228600">
              <a:buAutoNum type="arabicParenR"/>
            </a:pPr>
            <a:endParaRPr lang="nb-NO"/>
          </a:p>
          <a:p>
            <a:pPr algn="l" fontAlgn="base"/>
            <a:r>
              <a:rPr lang="nb-NO" b="0" i="0">
                <a:solidFill>
                  <a:srgbClr val="444444"/>
                </a:solidFill>
                <a:effectLst/>
                <a:latin typeface="Poppins" panose="00000500000000000000" pitchFamily="50" charset="0"/>
              </a:rPr>
              <a:t>Ved at vi etablerer felles arbeidsprosesser, rutiner og tjenester, vil våre ansatte oppleve lik administrativ praksis på tvers av universitetene.  </a:t>
            </a:r>
          </a:p>
          <a:p>
            <a:pPr algn="l" fontAlgn="base"/>
            <a:r>
              <a:rPr lang="nb-NO" b="0" i="0">
                <a:solidFill>
                  <a:srgbClr val="444444"/>
                </a:solidFill>
                <a:effectLst/>
                <a:latin typeface="Poppins" panose="00000500000000000000" pitchFamily="50" charset="0"/>
              </a:rPr>
              <a:t>Samarbeidet skal også gjøre universitetssektoren mer samkjørt, som igjen vil gjøre det lettere med samarbeid på tvers av institusjonene.</a:t>
            </a:r>
          </a:p>
          <a:p>
            <a:pPr algn="l" fontAlgn="base"/>
            <a:endParaRPr lang="nb-NO" b="0" i="0">
              <a:solidFill>
                <a:srgbClr val="444444"/>
              </a:solidFill>
              <a:effectLst/>
              <a:latin typeface="Poppins" panose="00000500000000000000" pitchFamily="50" charset="0"/>
            </a:endParaRPr>
          </a:p>
          <a:p>
            <a:pPr algn="l" fontAlgn="base"/>
            <a:r>
              <a:rPr lang="nb-NO" b="0" i="0">
                <a:solidFill>
                  <a:srgbClr val="444444"/>
                </a:solidFill>
                <a:effectLst/>
                <a:latin typeface="Poppins" panose="00000500000000000000" pitchFamily="50" charset="0"/>
              </a:rPr>
              <a:t>Må også huske på at ingen system er så god som de er den første dagen </a:t>
            </a:r>
          </a:p>
          <a:p>
            <a:pPr marL="0" indent="0">
              <a:buNone/>
            </a:pP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Fag: Kanskje litt mer om frister og konverteringsarbeidet </a:t>
            </a:r>
          </a:p>
          <a:p>
            <a:r>
              <a:rPr lang="nb-NO"/>
              <a:t>Opplæring: Veldig rollebasert, nevne at mange har flere </a:t>
            </a:r>
            <a:r>
              <a:rPr lang="nb-NO" err="1"/>
              <a:t>ndre</a:t>
            </a:r>
            <a:r>
              <a:rPr lang="nb-NO"/>
              <a:t> roller i tillegg </a:t>
            </a:r>
          </a:p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2983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Vi har også en versjon i kursene som har med kort formålet med de ulike rollene også – så får vi litt mer tekst </a:t>
            </a:r>
          </a:p>
          <a:p>
            <a:r>
              <a:rPr lang="nb-NO"/>
              <a:t>Jeg kunne også tenke meg at vi gikk inn i noen roller og så på hva de gjør og hovedoppgaver, eks. for </a:t>
            </a:r>
            <a:r>
              <a:rPr lang="nb-NO" err="1"/>
              <a:t>fakturaansavrlig</a:t>
            </a:r>
            <a:r>
              <a:rPr lang="nb-NO"/>
              <a:t> og salgsordreoppretter </a:t>
            </a:r>
          </a:p>
          <a:p>
            <a:endParaRPr lang="nb-NO"/>
          </a:p>
          <a:p>
            <a:r>
              <a:rPr lang="nb-NO"/>
              <a:t>Fokus på </a:t>
            </a:r>
            <a:r>
              <a:rPr lang="nb-NO" err="1"/>
              <a:t>fakturaansavrlig</a:t>
            </a:r>
            <a:r>
              <a:rPr lang="nb-NO"/>
              <a:t> og salgsordreoppretter  - vise </a:t>
            </a:r>
            <a:r>
              <a:rPr lang="nb-NO" err="1"/>
              <a:t>hovedendringer</a:t>
            </a:r>
            <a:r>
              <a:rPr lang="nb-NO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65548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B582F1-3EE4-4B90-8415-8162F8CAE47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748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Om opplæring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Legge inn </a:t>
            </a:r>
            <a:r>
              <a:rPr lang="nb-NO" err="1"/>
              <a:t>slidene</a:t>
            </a:r>
            <a:r>
              <a:rPr lang="nb-NO"/>
              <a:t> fra innføringsledermøte o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/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Om prosessen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b-NO"/>
              <a:t>* Foreslår å hente mye inspirasjon fr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9025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215F2-8160-47FB-BCDB-E1A72197AD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0AD8E0-945F-4FF2-802C-25343E33DF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6927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646331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928914"/>
            <a:ext cx="8381997" cy="366570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3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7537940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70759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7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782069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151464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1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1" y="1444344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7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7" y="1444344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20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6645991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3229494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597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0850480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242953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366120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547067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278734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25501"/>
            <a:ext cx="8229600" cy="3813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1" r:id="rId12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0870494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1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423182" y="4800920"/>
            <a:ext cx="2520045" cy="204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47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457178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84" indent="-342884" algn="l" defTabSz="45717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13" indent="-285736" algn="l" defTabSz="45717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44" indent="-228588" algn="l" defTabSz="457178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20" indent="-228588" algn="l" defTabSz="457178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26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-+Oppl%C3%A6ring+i+nytt+%C3%B8konomisystem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documents/portlet_file_entry/1305837853/Veiledning+p%C3%A5logging+Canvas.pdf/1152f416-d177-1c08-dbe5-e703b96eb1c6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BOTT+%C3%98konomi+og+l%C3%B8nn+innf%C3%B8ringsprosjekt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Opplaering-bott-ol@ntnu.no" TargetMode="External"/><Relationship Id="rId4" Type="http://schemas.openxmlformats.org/officeDocument/2006/relationships/hyperlink" Target="https://i.ntnu.no/wiki/-/wiki/Norsk/Bott+%C3%B8konomi+og+l%C3%B8nn+-+Oppl%C3%A6ring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ott-samarbeidet.no/okonomi/opplering/index.html" TargetMode="External"/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3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10" Type="http://schemas.openxmlformats.org/officeDocument/2006/relationships/hyperlink" Target="https://i.ntnu.no/wiki/-/wiki/Norsk/Bott+%C3%B8konomi+og+l%C3%B8nn+-+Oppl%C3%A6ring" TargetMode="External"/><Relationship Id="rId4" Type="http://schemas.openxmlformats.org/officeDocument/2006/relationships/oleObject" Target="../embeddings/oleObject10.bin"/><Relationship Id="rId9" Type="http://schemas.openxmlformats.org/officeDocument/2006/relationships/hyperlink" Target="https://i.ntnu.no/wiki/-/wiki/Norsk/BOTT+%C3%98konomi+og+l%C3%B8nn+innf%C3%B8ringsprosjekt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mailto:opplaering-bott-ol@ntnu.no" TargetMode="Externa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35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3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7.png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D56F1_A562A8A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13666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-65314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445477" y="1822289"/>
            <a:ext cx="8114088" cy="1323439"/>
          </a:xfrm>
        </p:spPr>
        <p:txBody>
          <a:bodyPr vert="horz"/>
          <a:lstStyle/>
          <a:p>
            <a:r>
              <a:rPr lang="nb-NO" sz="4000">
                <a:solidFill>
                  <a:schemeClr val="bg1"/>
                </a:solidFill>
              </a:rPr>
              <a:t>Prosjektøkonomi – Informasjonsmøte om opplæring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519506" y="3784365"/>
            <a:ext cx="8114089" cy="598097"/>
          </a:xfr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nb-NO" sz="2700">
                <a:solidFill>
                  <a:schemeClr val="bg1"/>
                </a:solidFill>
              </a:rPr>
              <a:t>BOTT ØL Innføring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1. september 2022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5E34E-F4EE-4A05-A7C3-3940E7EE0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utineste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C1054D-D609-4E96-8806-0B5B2197DF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440" y="852311"/>
            <a:ext cx="1440039" cy="16111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F982BA7-BB87-4865-9C3A-385F94F1DA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1304" y="852311"/>
            <a:ext cx="6480725" cy="4243050"/>
          </a:xfrm>
          <a:prstGeom prst="rect">
            <a:avLst/>
          </a:prstGeom>
        </p:spPr>
      </p:pic>
      <p:sp>
        <p:nvSpPr>
          <p:cNvPr id="7" name="Arrow: Right 6">
            <a:extLst>
              <a:ext uri="{FF2B5EF4-FFF2-40B4-BE49-F238E27FC236}">
                <a16:creationId xmlns:a16="http://schemas.microsoft.com/office/drawing/2014/main" id="{B57D9258-6E1D-40CE-885B-752DEE4469EE}"/>
              </a:ext>
            </a:extLst>
          </p:cNvPr>
          <p:cNvSpPr/>
          <p:nvPr/>
        </p:nvSpPr>
        <p:spPr>
          <a:xfrm rot="1843831">
            <a:off x="950821" y="2035017"/>
            <a:ext cx="1846001" cy="126255"/>
          </a:xfrm>
          <a:prstGeom prst="rightArrow">
            <a:avLst>
              <a:gd name="adj1" fmla="val 50000"/>
              <a:gd name="adj2" fmla="val 50069"/>
            </a:avLst>
          </a:prstGeom>
          <a:solidFill>
            <a:srgbClr val="FF0000">
              <a:alpha val="30196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7A0AC7F5-91A4-469A-A41F-118FB8EA5C73}"/>
              </a:ext>
            </a:extLst>
          </p:cNvPr>
          <p:cNvSpPr/>
          <p:nvPr/>
        </p:nvSpPr>
        <p:spPr>
          <a:xfrm rot="3786746">
            <a:off x="740502" y="2688977"/>
            <a:ext cx="2584374" cy="201122"/>
          </a:xfrm>
          <a:prstGeom prst="rightArrow">
            <a:avLst>
              <a:gd name="adj1" fmla="val 50000"/>
              <a:gd name="adj2" fmla="val 50069"/>
            </a:avLst>
          </a:prstGeom>
          <a:solidFill>
            <a:srgbClr val="FF0000">
              <a:alpha val="30196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3693EF9-9F3C-4366-96DD-ABBA6FCC4929}"/>
              </a:ext>
            </a:extLst>
          </p:cNvPr>
          <p:cNvSpPr/>
          <p:nvPr/>
        </p:nvSpPr>
        <p:spPr>
          <a:xfrm>
            <a:off x="7480300" y="3625851"/>
            <a:ext cx="1174751" cy="984250"/>
          </a:xfrm>
          <a:prstGeom prst="roundRect">
            <a:avLst/>
          </a:prstGeom>
          <a:noFill/>
          <a:ln>
            <a:solidFill>
              <a:srgbClr val="FF0000"/>
            </a:solidFill>
            <a:prstDash val="lg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39849416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60DA80-0A5B-AE39-A744-0EE6DA1296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vertering av prosjekter (BOA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FD6742-2C32-790D-EA03-62D0C0189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1067460"/>
            <a:ext cx="8381997" cy="2209140"/>
          </a:xfrm>
        </p:spPr>
        <p:txBody>
          <a:bodyPr>
            <a:normAutofit fontScale="92500" lnSpcReduction="20000"/>
          </a:bodyPr>
          <a:lstStyle/>
          <a:p>
            <a:r>
              <a:rPr lang="nb-NO"/>
              <a:t>Prosjekter </a:t>
            </a:r>
            <a:r>
              <a:rPr lang="nb-NO" b="1"/>
              <a:t>må</a:t>
            </a:r>
            <a:r>
              <a:rPr lang="nb-NO"/>
              <a:t> konverteres (refereres til) på datakonverteringsarket – eller avsluttes i 2022</a:t>
            </a:r>
          </a:p>
          <a:p>
            <a:r>
              <a:rPr lang="nb-NO"/>
              <a:t>Fakultetene/enhetene skal levere samlede, kvalitetssikrede </a:t>
            </a:r>
            <a:r>
              <a:rPr lang="nb-NO" err="1"/>
              <a:t>datakonverteringark</a:t>
            </a:r>
            <a:r>
              <a:rPr lang="nb-NO"/>
              <a:t> 19.10.22</a:t>
            </a:r>
          </a:p>
          <a:p>
            <a:pPr lvl="1"/>
            <a:r>
              <a:rPr lang="nb-NO"/>
              <a:t>Overhold interne frister gitt fra superbrukere konvertering</a:t>
            </a:r>
          </a:p>
          <a:p>
            <a:pPr lvl="1"/>
            <a:endParaRPr lang="nb-NO"/>
          </a:p>
          <a:p>
            <a:pPr marL="0" indent="0">
              <a:buNone/>
            </a:pPr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152602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78F3C-E3A4-0715-8846-3DFFAB72D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ydding løpend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0835FDE-77EB-C319-6E76-C32A6E3E4B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7025" y="1174317"/>
            <a:ext cx="8382000" cy="3174279"/>
          </a:xfrm>
        </p:spPr>
      </p:pic>
    </p:spTree>
    <p:extLst>
      <p:ext uri="{BB962C8B-B14F-4D97-AF65-F5344CB8AC3E}">
        <p14:creationId xmlns:p14="http://schemas.microsoft.com/office/powerpoint/2010/main" val="31915036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E72B6-A3E7-5E1F-5C34-678696824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Cut-over</a:t>
            </a:r>
            <a:r>
              <a:rPr lang="nb-NO"/>
              <a:t> 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844C5C-964A-B4D6-1DEB-43654AB1EB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En detaljert </a:t>
            </a:r>
            <a:r>
              <a:rPr lang="nb-NO" err="1"/>
              <a:t>cut-over</a:t>
            </a:r>
            <a:r>
              <a:rPr lang="nb-NO"/>
              <a:t> plan for oppgaver i perioden november – februar er under utarbeidelse</a:t>
            </a:r>
          </a:p>
          <a:p>
            <a:r>
              <a:rPr lang="nb-NO"/>
              <a:t>Vil omfatte en mengde større og mindre oppgaver</a:t>
            </a:r>
          </a:p>
          <a:p>
            <a:pPr lvl="1"/>
            <a:r>
              <a:rPr lang="nb-NO"/>
              <a:t>Lokalt og sentralt</a:t>
            </a:r>
          </a:p>
          <a:p>
            <a:r>
              <a:rPr lang="nb-NO"/>
              <a:t>Veldig mange avhengigheter og tette tidsfrister</a:t>
            </a:r>
          </a:p>
          <a:p>
            <a:pPr lvl="1"/>
            <a:r>
              <a:rPr lang="nb-NO"/>
              <a:t>Forsinkelser vil kunne få store konsekvenser</a:t>
            </a:r>
          </a:p>
          <a:p>
            <a:pPr lvl="1"/>
            <a:endParaRPr lang="nb-NO"/>
          </a:p>
          <a:p>
            <a:r>
              <a:rPr lang="nb-NO"/>
              <a:t>Alle må bidra til at vi får en så smertefri overgang som mulig</a:t>
            </a:r>
          </a:p>
        </p:txBody>
      </p:sp>
    </p:spTree>
    <p:extLst>
      <p:ext uri="{BB962C8B-B14F-4D97-AF65-F5344CB8AC3E}">
        <p14:creationId xmlns:p14="http://schemas.microsoft.com/office/powerpoint/2010/main" val="4201703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6C2F8-044C-34EC-0055-C04A01CD26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apporter/verktøy etter 1.1.2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4BB053-2B4E-78BF-0A29-DF9DDA7839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Unit4 skal være prosjektøkonomenes arbeidsverktøy</a:t>
            </a:r>
          </a:p>
          <a:p>
            <a:pPr lvl="1"/>
            <a:r>
              <a:rPr lang="nb-NO"/>
              <a:t>Alle nødvendige rapporter o.l. for å utføre rollen som prosjektøkonom (som definert i BOTT) skal være tilgjengelig i Unit4</a:t>
            </a:r>
          </a:p>
          <a:p>
            <a:pPr lvl="1"/>
            <a:endParaRPr lang="nb-NO"/>
          </a:p>
          <a:p>
            <a:r>
              <a:rPr lang="nb-NO"/>
              <a:t>Prosjektledere og andre ledere har ikke tilgang til prosjektrapporter/annen prosjektinformasjon i Unit4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BEVISST skal være verktøyet for diss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nb-NO"/>
              <a:t>Men må utvikles</a:t>
            </a:r>
          </a:p>
        </p:txBody>
      </p:sp>
    </p:spTree>
    <p:extLst>
      <p:ext uri="{BB962C8B-B14F-4D97-AF65-F5344CB8AC3E}">
        <p14:creationId xmlns:p14="http://schemas.microsoft.com/office/powerpoint/2010/main" val="11818736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0787828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8086654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 - Opplæring for roller i PØ-prosessen</a:t>
                      </a:r>
                    </a:p>
                  </a:txBody>
                  <a:tcPr>
                    <a:solidFill>
                      <a:srgbClr val="0135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15696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A165952-38CD-4D86-8DEC-D7905CA9C2B2}"/>
              </a:ext>
            </a:extLst>
          </p:cNvPr>
          <p:cNvGraphicFramePr/>
          <p:nvPr/>
        </p:nvGraphicFramePr>
        <p:xfrm>
          <a:off x="1466850" y="5397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Graphic 7" descr="Group brainstorm outline">
            <a:extLst>
              <a:ext uri="{FF2B5EF4-FFF2-40B4-BE49-F238E27FC236}">
                <a16:creationId xmlns:a16="http://schemas.microsoft.com/office/drawing/2014/main" id="{3DA5C5A7-04F2-D008-FFE1-E2EF873EA9E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56893" y="2368325"/>
            <a:ext cx="698725" cy="698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67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7EFB2E8-7B29-9CE5-DBB5-931AA31917F3}"/>
              </a:ext>
            </a:extLst>
          </p:cNvPr>
          <p:cNvSpPr txBox="1"/>
          <p:nvPr/>
        </p:nvSpPr>
        <p:spPr>
          <a:xfrm>
            <a:off x="207034" y="102431"/>
            <a:ext cx="45712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2000">
                <a:solidFill>
                  <a:schemeClr val="accent2">
                    <a:lumMod val="50000"/>
                  </a:schemeClr>
                </a:solidFill>
              </a:rPr>
              <a:t>Opplæringsløp for Prosjektøkonom</a:t>
            </a:r>
            <a:endParaRPr lang="nb-NO" sz="2000"/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8D6EB9D5-E603-278B-77B8-1B1544D4F4BE}"/>
              </a:ext>
            </a:extLst>
          </p:cNvPr>
          <p:cNvSpPr/>
          <p:nvPr/>
        </p:nvSpPr>
        <p:spPr>
          <a:xfrm>
            <a:off x="152400" y="3889898"/>
            <a:ext cx="8478253" cy="991802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90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3FB0B55-EE0D-0644-6C51-808A42448D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1634825"/>
              </p:ext>
            </p:extLst>
          </p:nvPr>
        </p:nvGraphicFramePr>
        <p:xfrm>
          <a:off x="513347" y="734250"/>
          <a:ext cx="8630653" cy="36685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56F2B9CD-CF68-3CB3-61E1-AB48A6BEB969}"/>
              </a:ext>
            </a:extLst>
          </p:cNvPr>
          <p:cNvSpPr txBox="1"/>
          <p:nvPr/>
        </p:nvSpPr>
        <p:spPr>
          <a:xfrm>
            <a:off x="659561" y="4305726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21.09.2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CC1D9D9-1B60-A8A7-38FF-603D5D2C68BD}"/>
              </a:ext>
            </a:extLst>
          </p:cNvPr>
          <p:cNvSpPr txBox="1"/>
          <p:nvPr/>
        </p:nvSpPr>
        <p:spPr>
          <a:xfrm>
            <a:off x="6855480" y="4305726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1.01.2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DADD2C9-650E-4CFB-01BC-609EC6261765}"/>
              </a:ext>
            </a:extLst>
          </p:cNvPr>
          <p:cNvSpPr txBox="1"/>
          <p:nvPr/>
        </p:nvSpPr>
        <p:spPr>
          <a:xfrm>
            <a:off x="1183302" y="4056954"/>
            <a:ext cx="4575362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Alternative</a:t>
            </a:r>
            <a:r>
              <a:rPr lang="nb-NO" sz="180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datoer</a:t>
            </a:r>
          </a:p>
          <a:p>
            <a:pPr algn="ctr"/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Trondheim | Gjøvik | Ålesun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51BE88-8BEC-2455-2EAE-D3B31BC9893F}"/>
              </a:ext>
            </a:extLst>
          </p:cNvPr>
          <p:cNvSpPr txBox="1"/>
          <p:nvPr/>
        </p:nvSpPr>
        <p:spPr>
          <a:xfrm>
            <a:off x="5336980" y="4305726"/>
            <a:ext cx="67835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08.1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B77A9F-0BC7-3390-6FB9-386DAC9D090C}"/>
              </a:ext>
            </a:extLst>
          </p:cNvPr>
          <p:cNvSpPr txBox="1"/>
          <p:nvPr/>
        </p:nvSpPr>
        <p:spPr>
          <a:xfrm>
            <a:off x="6119611" y="4277499"/>
            <a:ext cx="8161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>
                <a:solidFill>
                  <a:schemeClr val="tx2">
                    <a:lumMod val="75000"/>
                  </a:schemeClr>
                </a:solidFill>
              </a:rPr>
              <a:t>3 alternative datoer</a:t>
            </a:r>
          </a:p>
        </p:txBody>
      </p:sp>
    </p:spTree>
    <p:extLst>
      <p:ext uri="{BB962C8B-B14F-4D97-AF65-F5344CB8AC3E}">
        <p14:creationId xmlns:p14="http://schemas.microsoft.com/office/powerpoint/2010/main" val="21965515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FAD35FE8-414E-2A9E-06EE-38126FF73D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99" y="46755"/>
            <a:ext cx="8229600" cy="646331"/>
          </a:xfrm>
        </p:spPr>
        <p:txBody>
          <a:bodyPr anchor="t">
            <a:normAutofit/>
          </a:bodyPr>
          <a:lstStyle/>
          <a:p>
            <a:r>
              <a:rPr lang="nb-NO" sz="2800" b="0">
                <a:hlinkClick r:id="rId3"/>
              </a:rPr>
              <a:t>BOTT ØL - Opplæringsside</a:t>
            </a:r>
            <a:endParaRPr lang="nb-NO" sz="2800" b="0"/>
          </a:p>
        </p:txBody>
      </p:sp>
      <p:pic>
        <p:nvPicPr>
          <p:cNvPr id="8" name="Picture Placeholder 5" descr="Bott økonomi og lønn - Opplæring - Kunnskapsbasen - NTNU">
            <a:extLst>
              <a:ext uri="{FF2B5EF4-FFF2-40B4-BE49-F238E27FC236}">
                <a16:creationId xmlns:a16="http://schemas.microsoft.com/office/drawing/2014/main" id="{F7793157-4D74-7819-BBEB-1E49EAAAEE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00501" y="693086"/>
            <a:ext cx="2900066" cy="4356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776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7BE1A714-A592-DAEC-6575-DA2498F2E7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04299"/>
            <a:ext cx="8229600" cy="461665"/>
          </a:xfrm>
        </p:spPr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Egen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: BOTT</a:t>
            </a:r>
            <a:r>
              <a:rPr lang="en-US" sz="2400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ØL 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for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rolle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 og 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prosess</a:t>
            </a:r>
            <a:endParaRPr lang="en-US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15A3A7-F2E9-12F2-2AFC-FD837461FD23}"/>
              </a:ext>
            </a:extLst>
          </p:cNvPr>
          <p:cNvSpPr txBox="1"/>
          <p:nvPr/>
        </p:nvSpPr>
        <p:spPr>
          <a:xfrm>
            <a:off x="4391310" y="1894506"/>
            <a:ext cx="4173487" cy="2818759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/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Prosjektøkonom – estimert tid </a:t>
            </a:r>
            <a:r>
              <a:rPr lang="nb-NO" sz="1600" u="sng">
                <a:latin typeface="Arial"/>
                <a:cs typeface="Arial"/>
              </a:rPr>
              <a:t>4-6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Fakturaansvarlig – estimert tid </a:t>
            </a:r>
            <a:r>
              <a:rPr lang="nb-NO" sz="1600" u="sng">
                <a:latin typeface="Arial"/>
                <a:cs typeface="Arial"/>
              </a:rPr>
              <a:t>3 timer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/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 err="1"/>
              <a:t>Søknadsregistrerer</a:t>
            </a:r>
            <a:r>
              <a:rPr lang="nb-NO" sz="1600"/>
              <a:t> skal ikke gjennomføres ennå (søknadsmodul tas ikke i bruk 1.1.23)</a:t>
            </a: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nb-NO" sz="1600">
              <a:latin typeface="Arial"/>
              <a:cs typeface="Arial"/>
            </a:endParaRP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Kan tas så mange ganger du ønsker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Modul-oppbygget</a:t>
            </a:r>
          </a:p>
          <a:p>
            <a:pPr marL="285750" indent="-285750">
              <a:lnSpc>
                <a:spcPct val="9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nb-NO" sz="1600">
                <a:latin typeface="Arial"/>
                <a:cs typeface="Arial"/>
              </a:rPr>
              <a:t>Quiz etter gjennomføringen</a:t>
            </a:r>
            <a:endParaRPr lang="nb-NO">
              <a:latin typeface="Arial"/>
              <a:cs typeface="Arial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Font typeface="Arial"/>
            </a:pPr>
            <a:endParaRPr lang="nb-NO">
              <a:latin typeface="Arial"/>
              <a:cs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219E0A-E2E6-DD43-2193-5A35F0666EFC}"/>
              </a:ext>
            </a:extLst>
          </p:cNvPr>
          <p:cNvSpPr txBox="1"/>
          <p:nvPr/>
        </p:nvSpPr>
        <p:spPr>
          <a:xfrm>
            <a:off x="4391310" y="1208536"/>
            <a:ext cx="25443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>
                <a:hlinkClick r:id="rId3"/>
              </a:rPr>
              <a:t>Veiledning til pålogging</a:t>
            </a:r>
            <a:endParaRPr lang="nb-NO"/>
          </a:p>
        </p:txBody>
      </p:sp>
      <p:pic>
        <p:nvPicPr>
          <p:cNvPr id="7" name="Picture Placeholder 5" descr="Prosjektide til prosjektavslutning - BOTT">
            <a:extLst>
              <a:ext uri="{FF2B5EF4-FFF2-40B4-BE49-F238E27FC236}">
                <a16:creationId xmlns:a16="http://schemas.microsoft.com/office/drawing/2014/main" id="{F61C8378-B5C9-F725-9CEC-FE6F1826C6C6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579203" y="1028699"/>
            <a:ext cx="3509954" cy="3810501"/>
          </a:xfrm>
          <a:prstGeom prst="rect">
            <a:avLst/>
          </a:prstGeom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BF80CF0C-FFC1-8636-2119-BD5ABCE0A9BC}"/>
              </a:ext>
            </a:extLst>
          </p:cNvPr>
          <p:cNvSpPr/>
          <p:nvPr/>
        </p:nvSpPr>
        <p:spPr>
          <a:xfrm>
            <a:off x="1385047" y="4390464"/>
            <a:ext cx="2588560" cy="401671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2088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6968796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bg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bg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 dirty="0"/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dirty="0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dirty="0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 dirty="0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428133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PØ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25407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96EEE3-8C19-A765-EF66-F86BEDA1BE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Gjennomføre</a:t>
            </a:r>
            <a:r>
              <a:rPr lang="en-US"/>
              <a:t> </a:t>
            </a:r>
            <a:r>
              <a:rPr lang="en-US" sz="2400" b="0">
                <a:solidFill>
                  <a:schemeClr val="accent2">
                    <a:lumMod val="50000"/>
                  </a:schemeClr>
                </a:solidFill>
              </a:rPr>
              <a:t>BOTT e-</a:t>
            </a:r>
            <a:r>
              <a:rPr lang="en-US" sz="2400" b="0" err="1">
                <a:solidFill>
                  <a:schemeClr val="accent2">
                    <a:lumMod val="50000"/>
                  </a:schemeClr>
                </a:solidFill>
              </a:rPr>
              <a:t>læring</a:t>
            </a:r>
            <a:endParaRPr lang="nb-NO" sz="2400" b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AFB54A-95FE-4BC9-6475-35F00F630D98}"/>
              </a:ext>
            </a:extLst>
          </p:cNvPr>
          <p:cNvSpPr txBox="1">
            <a:spLocks/>
          </p:cNvSpPr>
          <p:nvPr/>
        </p:nvSpPr>
        <p:spPr>
          <a:xfrm>
            <a:off x="4466665" y="1623977"/>
            <a:ext cx="4038600" cy="259060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Kursene ligger på læringsplattformen Canvas hos UiB</a:t>
            </a:r>
          </a:p>
          <a:p>
            <a:endParaRPr lang="en-US" sz="2000"/>
          </a:p>
          <a:p>
            <a:r>
              <a:rPr lang="en-US" sz="2000"/>
              <a:t>Du logger på med din NTNU Feide-bruker</a:t>
            </a:r>
          </a:p>
          <a:p>
            <a:endParaRPr lang="en-US"/>
          </a:p>
        </p:txBody>
      </p:sp>
      <p:pic>
        <p:nvPicPr>
          <p:cNvPr id="5" name="Picture Placeholder 5" descr="Prosjektøkonom - prosjektide til prosjektavslutning">
            <a:extLst>
              <a:ext uri="{FF2B5EF4-FFF2-40B4-BE49-F238E27FC236}">
                <a16:creationId xmlns:a16="http://schemas.microsoft.com/office/drawing/2014/main" id="{EB937239-F530-5B6C-7F1B-5F470206E87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2410" y="889917"/>
            <a:ext cx="3799200" cy="4111731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726ECA31-4253-D1AA-88E8-E7D0EBD1106E}"/>
              </a:ext>
            </a:extLst>
          </p:cNvPr>
          <p:cNvSpPr/>
          <p:nvPr/>
        </p:nvSpPr>
        <p:spPr>
          <a:xfrm>
            <a:off x="1196786" y="838863"/>
            <a:ext cx="1432113" cy="367383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834337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236B4F-63A1-4F35-A65C-9377879AA6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44" y="205980"/>
            <a:ext cx="8552985" cy="646331"/>
          </a:xfrm>
        </p:spPr>
        <p:txBody>
          <a:bodyPr/>
          <a:lstStyle/>
          <a:p>
            <a:r>
              <a:rPr lang="nb-NO"/>
              <a:t>NTNU benytter </a:t>
            </a:r>
            <a:r>
              <a:rPr lang="nb-NO" err="1"/>
              <a:t>andelsmessig</a:t>
            </a:r>
            <a:r>
              <a:rPr lang="nb-NO"/>
              <a:t> prinsipp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E8E128C3-22F2-4B80-A958-7D891D1A40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b="57325"/>
          <a:stretch/>
        </p:blipFill>
        <p:spPr>
          <a:xfrm>
            <a:off x="341436" y="2645465"/>
            <a:ext cx="4464707" cy="7111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C665320-4344-44A4-B0EF-6C1F81B703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1436" y="3594104"/>
            <a:ext cx="4464707" cy="119865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579425E-B06A-4CEB-B84D-4610FBF17085}"/>
              </a:ext>
            </a:extLst>
          </p:cNvPr>
          <p:cNvSpPr txBox="1"/>
          <p:nvPr/>
        </p:nvSpPr>
        <p:spPr>
          <a:xfrm>
            <a:off x="5058274" y="3340189"/>
            <a:ext cx="3470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Hentet fra informasjon til ØKBOTT 29.5.19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3160B16-33A8-4578-BE15-B7A2E48E5D8F}"/>
              </a:ext>
            </a:extLst>
          </p:cNvPr>
          <p:cNvSpPr/>
          <p:nvPr/>
        </p:nvSpPr>
        <p:spPr>
          <a:xfrm>
            <a:off x="405909" y="2787936"/>
            <a:ext cx="4464707" cy="56251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F61878A-361E-40FF-96C4-B84382818782}"/>
              </a:ext>
            </a:extLst>
          </p:cNvPr>
          <p:cNvSpPr/>
          <p:nvPr/>
        </p:nvSpPr>
        <p:spPr>
          <a:xfrm>
            <a:off x="405910" y="3742779"/>
            <a:ext cx="4464707" cy="56251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39B1A1D-3CC4-4FA0-ADAE-53B6D1E3DD87}"/>
              </a:ext>
            </a:extLst>
          </p:cNvPr>
          <p:cNvSpPr txBox="1"/>
          <p:nvPr/>
        </p:nvSpPr>
        <p:spPr>
          <a:xfrm>
            <a:off x="341435" y="1102318"/>
            <a:ext cx="772941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350"/>
              <a:t>Dette er slik som vi gjør det i dag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b-NO" sz="120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b-NO" sz="1200"/>
              <a:t>Men de andre gjør det annerledes, og siden løsningen skal fungere for alle er det både i systemet og i beskrivelser/rutiner 2 valg/beskrivelser</a:t>
            </a:r>
          </a:p>
          <a:p>
            <a:endParaRPr lang="nb-NO" sz="1200"/>
          </a:p>
          <a:p>
            <a:r>
              <a:rPr lang="nb-NO" sz="1350" b="1"/>
              <a:t>Dette er det viktig å være klar over, og skjønne, når man tar kurs, leser rutiner etc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F77D100-D1AA-4095-B3B0-CF5E8A503E7D}"/>
              </a:ext>
            </a:extLst>
          </p:cNvPr>
          <p:cNvSpPr txBox="1"/>
          <p:nvPr/>
        </p:nvSpPr>
        <p:spPr>
          <a:xfrm>
            <a:off x="5267387" y="2942233"/>
            <a:ext cx="347070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 b="1"/>
              <a:t>Egenfinansieringsandel (%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47FC0BB-B9C7-4190-BEEF-EEB31E9D311F}"/>
              </a:ext>
            </a:extLst>
          </p:cNvPr>
          <p:cNvSpPr txBox="1"/>
          <p:nvPr/>
        </p:nvSpPr>
        <p:spPr>
          <a:xfrm>
            <a:off x="5267386" y="3902683"/>
            <a:ext cx="347070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 b="1"/>
              <a:t>TDI-splitt (%)</a:t>
            </a:r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61905751-1C19-4664-A613-F9049A0A5DE2}"/>
              </a:ext>
            </a:extLst>
          </p:cNvPr>
          <p:cNvSpPr/>
          <p:nvPr/>
        </p:nvSpPr>
        <p:spPr>
          <a:xfrm>
            <a:off x="4916040" y="3005692"/>
            <a:ext cx="386210" cy="150041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FC4B18D1-1565-438A-B2F8-A13D560C998C}"/>
              </a:ext>
            </a:extLst>
          </p:cNvPr>
          <p:cNvSpPr/>
          <p:nvPr/>
        </p:nvSpPr>
        <p:spPr>
          <a:xfrm>
            <a:off x="4916040" y="3959617"/>
            <a:ext cx="386210" cy="150041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37088490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6EF200B6-E4C4-84D0-1693-5D34E6F462F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66844177"/>
              </p:ext>
            </p:extLst>
          </p:nvPr>
        </p:nvGraphicFramePr>
        <p:xfrm>
          <a:off x="327025" y="1264024"/>
          <a:ext cx="6927663" cy="27700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tel 1">
            <a:extLst>
              <a:ext uri="{FF2B5EF4-FFF2-40B4-BE49-F238E27FC236}">
                <a16:creationId xmlns:a16="http://schemas.microsoft.com/office/drawing/2014/main" id="{F1283971-F112-537C-BB94-B9A7B281D3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25" y="206375"/>
            <a:ext cx="8382000" cy="646113"/>
          </a:xfrm>
        </p:spPr>
        <p:txBody>
          <a:bodyPr anchor="t">
            <a:normAutofit/>
          </a:bodyPr>
          <a:lstStyle/>
          <a:p>
            <a:r>
              <a:rPr lang="nb-NO" b="0"/>
              <a:t>Praktisk</a:t>
            </a:r>
            <a:r>
              <a:rPr lang="nb-NO"/>
              <a:t> </a:t>
            </a:r>
            <a:r>
              <a:rPr lang="nb-NO" b="0"/>
              <a:t>informasjon</a:t>
            </a:r>
          </a:p>
        </p:txBody>
      </p:sp>
    </p:spTree>
    <p:extLst>
      <p:ext uri="{BB962C8B-B14F-4D97-AF65-F5344CB8AC3E}">
        <p14:creationId xmlns:p14="http://schemas.microsoft.com/office/powerpoint/2010/main" val="13227073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9585CFF-6FFA-D3A8-979C-5CE3260DB8E3}"/>
              </a:ext>
            </a:extLst>
          </p:cNvPr>
          <p:cNvSpPr txBox="1">
            <a:spLocks/>
          </p:cNvSpPr>
          <p:nvPr/>
        </p:nvSpPr>
        <p:spPr>
          <a:xfrm>
            <a:off x="292608" y="168961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E6C041-3B17-9A6F-98CE-45DC65CA8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68819"/>
            <a:ext cx="8381997" cy="562117"/>
          </a:xfrm>
        </p:spPr>
        <p:txBody>
          <a:bodyPr/>
          <a:lstStyle/>
          <a:p>
            <a:r>
              <a:rPr lang="nb-NO"/>
              <a:t>Spørsmål om opplæring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7690808-70AE-28C2-4D2B-5A026C5544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6573" y="758952"/>
            <a:ext cx="8381997" cy="4178808"/>
          </a:xfrm>
        </p:spPr>
        <p:txBody>
          <a:bodyPr>
            <a:normAutofit fontScale="47500" lnSpcReduction="20000"/>
          </a:bodyPr>
          <a:lstStyle/>
          <a:p>
            <a:r>
              <a:rPr lang="nb-NO"/>
              <a:t>Hvilken rolle har jeg?</a:t>
            </a:r>
          </a:p>
          <a:p>
            <a:pPr lvl="1"/>
            <a:r>
              <a:rPr lang="nb-NO"/>
              <a:t>Ta kontakt med nærmeste leder eller innføringsleder på din enhet </a:t>
            </a:r>
          </a:p>
          <a:p>
            <a:pPr lvl="1"/>
            <a:r>
              <a:rPr lang="nb-NO"/>
              <a:t>Oversikt over innføringsledere finnes på </a:t>
            </a:r>
            <a:r>
              <a:rPr lang="nb-NO">
                <a:hlinkClick r:id="rId3"/>
              </a:rPr>
              <a:t>BOTT ØL Innføring – Lokal innføring på enhetene</a:t>
            </a:r>
            <a:r>
              <a:rPr lang="nb-NO"/>
              <a:t> 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Når skal jeg på kurs?</a:t>
            </a:r>
          </a:p>
          <a:p>
            <a:pPr lvl="1"/>
            <a:r>
              <a:rPr lang="nb-NO"/>
              <a:t>Oppdaterte kursdatoer vil hele tiden ligge på </a:t>
            </a:r>
            <a:r>
              <a:rPr lang="nb-NO">
                <a:hlinkClick r:id="rId4"/>
              </a:rPr>
              <a:t>BOTT ØL- opplæring</a:t>
            </a:r>
            <a:endParaRPr lang="nb-NO"/>
          </a:p>
          <a:p>
            <a:pPr lvl="1"/>
            <a:r>
              <a:rPr lang="nb-NO"/>
              <a:t>Du får kalenderinvitasjon til alle kurs du skal på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ilken egenlæring skal jeg gjennomføre?</a:t>
            </a:r>
          </a:p>
          <a:p>
            <a:pPr lvl="1"/>
            <a:r>
              <a:rPr lang="nb-NO"/>
              <a:t>For alle rollene er det spesifisert hvilke egenlæring som skal gjennomgås på opplæringssidene </a:t>
            </a:r>
          </a:p>
          <a:p>
            <a:pPr lvl="1"/>
            <a:r>
              <a:rPr lang="nb-NO"/>
              <a:t>Alle bør gjennomføre Basiskurs i ny økonomimodell </a:t>
            </a:r>
          </a:p>
          <a:p>
            <a:pPr lvl="1"/>
            <a:r>
              <a:rPr lang="nb-NO"/>
              <a:t>Så lenge rollen din har BOTT e-læring skal denne gjennomføres </a:t>
            </a:r>
          </a:p>
          <a:p>
            <a:pPr lvl="1"/>
            <a:r>
              <a:rPr lang="nb-NO"/>
              <a:t>For noen roller/oppgaver ligger har DFØ lagt ut videoer som er aktuelle, i opplæringsløpet for hver rolle er det lenker til aktuelle videoer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Hvor lang tid må jeg bruke?</a:t>
            </a:r>
          </a:p>
          <a:p>
            <a:pPr lvl="1"/>
            <a:r>
              <a:rPr lang="nb-NO"/>
              <a:t>De er det veldig vanskelig å svare på  - det vil avhenge av både av hvilken rolle du skal ha og erfaringsbakgrunn. Estimert tid for gjennomføring av e-læring er spesifisert i kursinformasjonen. Det anbefales også å sette av tid til gjennomgang og diskusjoner med kollegaer.</a:t>
            </a:r>
          </a:p>
          <a:p>
            <a:pPr lvl="1"/>
            <a:r>
              <a:rPr lang="nb-NO"/>
              <a:t>Opplæringsmateriell ligge tilgjengelig fra Innsida også etter kurs</a:t>
            </a:r>
          </a:p>
          <a:p>
            <a:pPr lvl="1"/>
            <a:r>
              <a:rPr lang="nb-NO"/>
              <a:t>Kan være lurt å gjennomføre egenlæring også etter oppgang for oppfrisking og nytt perspektiv</a:t>
            </a:r>
          </a:p>
          <a:p>
            <a:pPr marL="457200" lvl="1" indent="0">
              <a:buNone/>
            </a:pPr>
            <a:endParaRPr lang="nb-NO"/>
          </a:p>
          <a:p>
            <a:r>
              <a:rPr lang="nb-NO"/>
              <a:t>Jeg har problemer med påmelding eller gjennomføring av BOTT ØL e-læring</a:t>
            </a:r>
          </a:p>
          <a:p>
            <a:pPr lvl="1"/>
            <a:r>
              <a:rPr lang="nb-NO"/>
              <a:t>Husk å opprette bruker på Canvas først før du melder deg på kurs. Brukerveiledning ligger på opplæringssidene</a:t>
            </a:r>
          </a:p>
          <a:p>
            <a:pPr lvl="1"/>
            <a:r>
              <a:rPr lang="nb-NO"/>
              <a:t>Fortsatt problemer? Ta kontakt på: </a:t>
            </a:r>
            <a:r>
              <a:rPr lang="nb-NO">
                <a:hlinkClick r:id="rId5"/>
              </a:rPr>
              <a:t>Opplaering-bott-ol@ntnu.no</a:t>
            </a:r>
            <a:r>
              <a:rPr lang="nb-NO"/>
              <a:t> </a:t>
            </a: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7B03DA14-C030-61F3-51E8-85A2FE2CD541}"/>
              </a:ext>
            </a:extLst>
          </p:cNvPr>
          <p:cNvSpPr txBox="1">
            <a:spLocks/>
          </p:cNvSpPr>
          <p:nvPr/>
        </p:nvSpPr>
        <p:spPr>
          <a:xfrm>
            <a:off x="457200" y="1621035"/>
            <a:ext cx="8229600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709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3971381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919085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PØ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Hvor kan du finne mer informasjon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98284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809FA4-B265-439C-A1D1-65847F8572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84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809FA4-B265-439C-A1D1-65847F8572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Graphic 10" descr="Information outline">
            <a:extLst>
              <a:ext uri="{FF2B5EF4-FFF2-40B4-BE49-F238E27FC236}">
                <a16:creationId xmlns:a16="http://schemas.microsoft.com/office/drawing/2014/main" id="{EBBBD0AB-E3F5-4444-9615-1E30919B4A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2006" y="2987504"/>
            <a:ext cx="1950017" cy="19500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B720FB8-DC71-4AAD-8500-79831D0430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523220"/>
          </a:xfrm>
        </p:spPr>
        <p:txBody>
          <a:bodyPr vert="horz"/>
          <a:lstStyle/>
          <a:p>
            <a:r>
              <a:rPr lang="nb-NO" sz="2800"/>
              <a:t>Hvor kan du finne mer informasj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A3C999-4171-48C8-970D-6FE7968043D0}"/>
              </a:ext>
            </a:extLst>
          </p:cNvPr>
          <p:cNvSpPr txBox="1"/>
          <p:nvPr/>
        </p:nvSpPr>
        <p:spPr>
          <a:xfrm>
            <a:off x="481631" y="1109844"/>
            <a:ext cx="7294259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>
                <a:hlinkClick r:id="rId8"/>
              </a:rPr>
              <a:t>BOTT-samarbeidet.no </a:t>
            </a:r>
            <a:r>
              <a:rPr lang="nb-NO" sz="1400"/>
              <a:t>– Alt tilgjengelig materiale utarbeidet av BOTT. Inkluderer prosesskart, rutinebeskrivelse, rollebeskrivelser, lenker til e-læringskurs og brukerskjemaer </a:t>
            </a:r>
          </a:p>
          <a:p>
            <a:endParaRPr lang="nb-NO" sz="1400"/>
          </a:p>
          <a:p>
            <a:r>
              <a:rPr lang="nb-NO" sz="1400" b="1">
                <a:hlinkClick r:id="rId9"/>
              </a:rPr>
              <a:t>NTNU Intranettside for innføringsprosjekt </a:t>
            </a:r>
            <a:r>
              <a:rPr lang="nb-NO" sz="1400"/>
              <a:t>– Siste nytt, generell info om innføringsprosjektet, informasjonspakker </a:t>
            </a:r>
            <a:r>
              <a:rPr lang="nb-NO" sz="1400" err="1"/>
              <a:t>osv</a:t>
            </a:r>
            <a:endParaRPr lang="nb-NO" sz="1400"/>
          </a:p>
          <a:p>
            <a:endParaRPr lang="nb-NO" sz="1400"/>
          </a:p>
          <a:p>
            <a:r>
              <a:rPr lang="nb-NO" sz="1400" b="1">
                <a:hlinkClick r:id="rId10"/>
              </a:rPr>
              <a:t>NTNU Intranettside for opplæring</a:t>
            </a:r>
            <a:r>
              <a:rPr lang="nb-NO" sz="1400"/>
              <a:t> – Info om opplæringsstruktur, aktuell opplæring per rolle og info om registrering for e-læringskurs</a:t>
            </a:r>
          </a:p>
          <a:p>
            <a:br>
              <a:rPr lang="nb-NO" sz="1400"/>
            </a:br>
            <a:endParaRPr lang="nb-NO" sz="1400"/>
          </a:p>
          <a:p>
            <a:endParaRPr lang="nb-NO" sz="1400"/>
          </a:p>
          <a:p>
            <a:endParaRPr lang="nb-NO" sz="1400"/>
          </a:p>
          <a:p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35273197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DACA-D9DD-215B-555F-3511BAD28E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pørsmål om opplæring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62A335D-041A-E56B-3AD3-F1C3AF854E98}"/>
              </a:ext>
            </a:extLst>
          </p:cNvPr>
          <p:cNvSpPr txBox="1"/>
          <p:nvPr/>
        </p:nvSpPr>
        <p:spPr>
          <a:xfrm>
            <a:off x="326573" y="1818871"/>
            <a:ext cx="788240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800"/>
              <a:t>Spørsmål/ henvendelser i forbindelse med opplæringe</a:t>
            </a:r>
            <a:r>
              <a:rPr lang="nb-NO"/>
              <a:t>n</a:t>
            </a:r>
            <a:r>
              <a:rPr lang="nb-NO" sz="1800"/>
              <a:t> sendes til: </a:t>
            </a:r>
            <a:r>
              <a:rPr lang="nb-NO" sz="2400" b="0" i="0" u="sng">
                <a:solidFill>
                  <a:srgbClr val="0000FF"/>
                </a:solidFill>
                <a:effectLst/>
                <a:latin typeface="Calibri" panose="020F0502020204030204" pitchFamily="34" charset="0"/>
                <a:hlinkClick r:id="rId3"/>
              </a:rPr>
              <a:t>opplaering-bott-ol@ntnu.no</a:t>
            </a:r>
            <a:r>
              <a:rPr lang="nb-NO" sz="1800" b="0" i="0">
                <a:solidFill>
                  <a:srgbClr val="323130"/>
                </a:solidFill>
                <a:effectLst/>
                <a:latin typeface="Calibri" panose="020F0502020204030204" pitchFamily="34" charset="0"/>
              </a:rPr>
              <a:t> </a:t>
            </a:r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219881979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3015620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Forberedelser til overgangen (rydding og konvertering)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711325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/>
                        <a:t>Infoformasjon om opplæring </a:t>
                      </a:r>
                    </a:p>
                    <a:p>
                      <a:r>
                        <a:rPr lang="nb-NO" sz="1600" i="1"/>
                        <a:t> - Struktur for opplæringsløp</a:t>
                      </a:r>
                    </a:p>
                    <a:p>
                      <a:r>
                        <a:rPr lang="nb-NO" sz="1600" i="1"/>
                        <a:t> - Praktisk info om opplæring</a:t>
                      </a:r>
                    </a:p>
                    <a:p>
                      <a:r>
                        <a:rPr lang="nb-NO" sz="1600" i="1"/>
                        <a:t> - Opplæring for roller i PØ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Spørsmål og svar 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529517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 - </a:t>
            </a:r>
            <a:r>
              <a:rPr lang="nb-NO" err="1"/>
              <a:t>menti</a:t>
            </a:r>
            <a:endParaRPr lang="nb-NO"/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399530" y="11961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A794400-E106-3CA1-0C5E-5A4657DFEA17}"/>
              </a:ext>
            </a:extLst>
          </p:cNvPr>
          <p:cNvSpPr txBox="1"/>
          <p:nvPr/>
        </p:nvSpPr>
        <p:spPr>
          <a:xfrm>
            <a:off x="638735" y="1606924"/>
            <a:ext cx="300541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Gå inn på menti.com</a:t>
            </a:r>
          </a:p>
          <a:p>
            <a:endParaRPr lang="nb-NO" dirty="0"/>
          </a:p>
          <a:p>
            <a:r>
              <a:rPr lang="nb-NO" dirty="0"/>
              <a:t>Kode: 74615657</a:t>
            </a: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Mål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279431" y="1833207"/>
            <a:ext cx="453542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Informere om opplæringsplan for dine roller og gi en introduksjon til </a:t>
            </a:r>
            <a:r>
              <a:rPr lang="nb-NO" sz="2400" b="1" i="1">
                <a:solidFill>
                  <a:srgbClr val="000000"/>
                </a:solidFill>
                <a:latin typeface="Arial" panose="020B0604020202020204"/>
              </a:rPr>
              <a:t>Prosjektøkonomi-</a:t>
            </a:r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prosessen</a:t>
            </a: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643087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398" y="25578"/>
            <a:ext cx="8418747" cy="1110177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1500" b="0" i="1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15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4524005" y="1355260"/>
            <a:ext cx="1890522" cy="1210630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399450" y="1355260"/>
            <a:ext cx="1890522" cy="1232548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6666298" y="1355259"/>
            <a:ext cx="2111329" cy="1371400"/>
            <a:chOff x="8888395" y="1714857"/>
            <a:chExt cx="2815105" cy="182853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økt funksjonalitet innen flere områder som pre-</a:t>
              </a:r>
              <a:r>
                <a:rPr lang="nb-NO" sz="1050" err="1">
                  <a:solidFill>
                    <a:srgbClr val="000000"/>
                  </a:solidFill>
                  <a:latin typeface="Arial" panose="020B0604020202020204"/>
                </a:rPr>
                <a:t>award</a:t>
              </a: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 (prosjektøkonomi) og selvbetjeningsløsninger</a:t>
              </a:r>
              <a:endParaRPr lang="nb-NO" sz="1050">
                <a:solidFill>
                  <a:srgbClr val="000000"/>
                </a:solidFill>
                <a:latin typeface="Arial" panose="020B0604020202020204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322358" y="2948501"/>
            <a:ext cx="1890522" cy="1637921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2445971" y="2955664"/>
            <a:ext cx="1890522" cy="1630759"/>
            <a:chOff x="3261295" y="3940885"/>
            <a:chExt cx="2520696" cy="2174343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49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6860971" y="2941860"/>
            <a:ext cx="1890522" cy="1321394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Vi får systemer, prosesser og roller som bidrar til å realisere Ett NTNU</a:t>
              </a:r>
              <a:endParaRPr lang="nb-NO" sz="1200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5324611" y="3062026"/>
            <a:ext cx="616003" cy="524774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p14="http://schemas.microsoft.com/office/powerpoint/2010/main" xmlns:mc="http://schemas.openxmlformats.org/markup-compatibility/2006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085" tIns="45542" rIns="91085" bIns="45542" numCol="1" anchor="t" anchorCtr="0" compatLnSpc="1">
            <a:prstTxWarp prst="textNoShape">
              <a:avLst/>
            </a:prstTxWarp>
          </a:bodyPr>
          <a:lstStyle/>
          <a:p>
            <a:pPr defTabSz="685783">
              <a:defRPr/>
            </a:pPr>
            <a:endParaRPr lang="en-GB" sz="239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4737357" y="3709258"/>
            <a:ext cx="1890522" cy="553998"/>
          </a:xfrm>
          <a:prstGeom prst="rect">
            <a:avLst/>
          </a:prstGeom>
          <a:noFill/>
        </p:spPr>
        <p:txBody>
          <a:bodyPr wrap="square" lIns="68580" tIns="34290" rIns="68580" bIns="34290" rtlCol="0" anchor="t">
            <a:spAutoFit/>
          </a:bodyPr>
          <a:lstStyle/>
          <a:p>
            <a:pPr algn="ctr" defTabSz="685783"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Vi få ny økonomimodell som gir muligheter for god økonomistyring</a:t>
            </a: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2381716" y="1500408"/>
            <a:ext cx="1890523" cy="1209065"/>
            <a:chOff x="6178994" y="2113353"/>
            <a:chExt cx="2520696" cy="1612088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685783">
                <a:defRPr/>
              </a:pPr>
              <a:endParaRPr lang="en-GB" sz="239">
                <a:solidFill>
                  <a:srgbClr val="000000"/>
                </a:solidFill>
                <a:latin typeface="Arial" panose="020B0604020202020204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8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/>
            <a:p>
              <a:pPr algn="ctr" defTabSz="685783">
                <a:defRPr/>
              </a:pPr>
              <a:r>
                <a:rPr lang="nb-NO" sz="1050">
                  <a:solidFill>
                    <a:srgbClr val="000000"/>
                  </a:solidFill>
                  <a:latin typeface="Arial" panose="020B0604020202020204"/>
                </a:rPr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249617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3" y="1193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3" y="1193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2" y="2"/>
            <a:ext cx="119063" cy="119063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333"/>
            <a:endParaRPr lang="nb-NO" sz="2000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3440818" y="1018626"/>
            <a:ext cx="3203555" cy="41338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18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6644374" y="1018628"/>
            <a:ext cx="2126785" cy="413381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314554" y="1018566"/>
            <a:ext cx="3133940" cy="413569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8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3448498" y="1688820"/>
            <a:ext cx="3230834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6652053" y="1688820"/>
            <a:ext cx="2119108" cy="837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326992" y="1653102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6138200" y="1919759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3448498" y="3875514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6652050" y="3875512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326992" y="3839794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6138200" y="4124741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3448498" y="2782167"/>
            <a:ext cx="3203551" cy="837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05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050">
              <a:solidFill>
                <a:prstClr val="white"/>
              </a:solidFill>
              <a:latin typeface="Calibri"/>
            </a:endParaRPr>
          </a:p>
          <a:p>
            <a:pPr defTabSz="457154"/>
            <a:r>
              <a:rPr lang="nb-NO" sz="105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0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6652050" y="2782167"/>
            <a:ext cx="2119108" cy="837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457154"/>
            <a:r>
              <a:rPr lang="nb-NO" sz="105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326992" y="2746448"/>
            <a:ext cx="3121502" cy="837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r>
              <a:rPr lang="nb-NO" sz="105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050">
                <a:solidFill>
                  <a:prstClr val="white"/>
                </a:solidFill>
                <a:latin typeface="Calibri"/>
              </a:rPr>
            </a:br>
            <a:r>
              <a:rPr lang="nb-NO" sz="105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6138200" y="3041510"/>
            <a:ext cx="952389" cy="348045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54"/>
            <a:endParaRPr lang="nb-NO" sz="18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288398" y="25578"/>
            <a:ext cx="8418747" cy="1110177"/>
          </a:xfrm>
          <a:prstGeom prst="rect">
            <a:avLst/>
          </a:prstGeom>
        </p:spPr>
        <p:txBody>
          <a:bodyPr vert="horz" lIns="91440" tIns="45720" rIns="91440" bIns="4572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a fører BOTT ØL med seg?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8488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5FD3C8-9491-4823-8333-44B69CC483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294C2FC-6200-440B-85E5-FF627608D0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52488" y="3602725"/>
            <a:ext cx="6435960" cy="1628238"/>
          </a:xfrm>
        </p:spPr>
        <p:txBody>
          <a:bodyPr>
            <a:normAutofit/>
          </a:bodyPr>
          <a:lstStyle/>
          <a:p>
            <a:pPr lvl="1"/>
            <a:endParaRPr lang="nb-NO"/>
          </a:p>
          <a:p>
            <a:endParaRPr lang="nb-NO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9CEC64A9-177F-4F35-BFC9-924D072343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160969"/>
              </p:ext>
            </p:extLst>
          </p:nvPr>
        </p:nvGraphicFramePr>
        <p:xfrm>
          <a:off x="409650" y="994346"/>
          <a:ext cx="6181967" cy="384543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18196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318298">
                <a:tc>
                  <a:txBody>
                    <a:bodyPr/>
                    <a:lstStyle/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Velkommen </a:t>
                      </a:r>
                    </a:p>
                    <a:p>
                      <a:r>
                        <a:rPr lang="nb-NO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i="1">
                          <a:solidFill>
                            <a:schemeClr val="tx1"/>
                          </a:solidFill>
                        </a:rPr>
                        <a:t>- Mål for møtet </a:t>
                      </a:r>
                    </a:p>
                    <a:p>
                      <a:r>
                        <a:rPr lang="nb-NO" i="1">
                          <a:solidFill>
                            <a:schemeClr val="tx1"/>
                          </a:solidFill>
                        </a:rPr>
                        <a:t> - Hvorfor BOTT ØL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Introduksjon til PØ-prosesse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Roller og prosessdokumentasjon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Forberedelser til overgangen (rydding og konvertering)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Unit4 ERP som verktøy for prosjektøkonom (Bevisst for PL mfl)</a:t>
                      </a:r>
                    </a:p>
                  </a:txBody>
                  <a:tcPr>
                    <a:solidFill>
                      <a:srgbClr val="0135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17197"/>
                  </a:ext>
                </a:extLst>
              </a:tr>
              <a:tr h="489216">
                <a:tc>
                  <a:txBody>
                    <a:bodyPr/>
                    <a:lstStyle/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Informasjon om opplæring 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Struktur for opplæringsløp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Praktisk info om opplæring</a:t>
                      </a:r>
                    </a:p>
                    <a:p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 - Opplæring for roller i PØ-prosesse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Hvor kan du finne mer informasjon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9807107"/>
                  </a:ext>
                </a:extLst>
              </a:tr>
              <a:tr h="398719">
                <a:tc>
                  <a:txBody>
                    <a:bodyPr/>
                    <a:lstStyle/>
                    <a:p>
                      <a:r>
                        <a:rPr lang="nb-NO" sz="1600"/>
                        <a:t>Spørsmål og svar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470634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5FE2C19-1B9A-46A3-864B-AA04A0F0C1C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93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5FE2C19-1B9A-46A3-864B-AA04A0F0C1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8E4C28B-F1B0-402B-9DE8-288274C06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3" y="205979"/>
            <a:ext cx="8381997" cy="461665"/>
          </a:xfrm>
        </p:spPr>
        <p:txBody>
          <a:bodyPr vert="horz"/>
          <a:lstStyle/>
          <a:p>
            <a:r>
              <a:rPr lang="nb-NO" sz="2400"/>
              <a:t>Intro til PØ-prosessen: Roll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371A57C-089F-4F0A-ACA3-C81247BE62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779" y="704828"/>
            <a:ext cx="7578389" cy="4438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25708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C1753D3-D254-4169-8C90-84EA2EA654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8" y="0"/>
            <a:ext cx="8888105" cy="51435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688C819F-F8C5-4F3C-8A89-D65CCDD9F857}"/>
              </a:ext>
            </a:extLst>
          </p:cNvPr>
          <p:cNvSpPr txBox="1"/>
          <p:nvPr/>
        </p:nvSpPr>
        <p:spPr>
          <a:xfrm>
            <a:off x="1835151" y="4010799"/>
            <a:ext cx="2921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50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9619694-539B-43D0-BD4D-A28996831EBF}"/>
              </a:ext>
            </a:extLst>
          </p:cNvPr>
          <p:cNvSpPr txBox="1"/>
          <p:nvPr/>
        </p:nvSpPr>
        <p:spPr>
          <a:xfrm>
            <a:off x="6483350" y="1377950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D69576F-E543-47D1-A713-258A5679364B}"/>
              </a:ext>
            </a:extLst>
          </p:cNvPr>
          <p:cNvSpPr txBox="1"/>
          <p:nvPr/>
        </p:nvSpPr>
        <p:spPr>
          <a:xfrm>
            <a:off x="8637278" y="520699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D69B62F-3453-4CB1-8CE0-EF84165DFB9A}"/>
              </a:ext>
            </a:extLst>
          </p:cNvPr>
          <p:cNvSpPr txBox="1"/>
          <p:nvPr/>
        </p:nvSpPr>
        <p:spPr>
          <a:xfrm>
            <a:off x="6502400" y="933451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3710D6-6CBD-4219-83B9-C798E027298A}"/>
              </a:ext>
            </a:extLst>
          </p:cNvPr>
          <p:cNvSpPr txBox="1"/>
          <p:nvPr/>
        </p:nvSpPr>
        <p:spPr>
          <a:xfrm>
            <a:off x="5441000" y="486975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5A4399D-EF3C-44B7-96FB-B8B219C43685}"/>
              </a:ext>
            </a:extLst>
          </p:cNvPr>
          <p:cNvSpPr txBox="1"/>
          <p:nvPr/>
        </p:nvSpPr>
        <p:spPr>
          <a:xfrm>
            <a:off x="4337048" y="520699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8321FBA-3D2D-4FD5-878D-0FC285FEC017}"/>
              </a:ext>
            </a:extLst>
          </p:cNvPr>
          <p:cNvSpPr txBox="1"/>
          <p:nvPr/>
        </p:nvSpPr>
        <p:spPr>
          <a:xfrm>
            <a:off x="3238501" y="520699"/>
            <a:ext cx="19685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2059C0E-0255-4084-9507-2124A08209DE}"/>
              </a:ext>
            </a:extLst>
          </p:cNvPr>
          <p:cNvSpPr txBox="1"/>
          <p:nvPr/>
        </p:nvSpPr>
        <p:spPr>
          <a:xfrm>
            <a:off x="3238500" y="2187574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D04FA2-948B-4BCE-9967-E35EF4FBC53E}"/>
              </a:ext>
            </a:extLst>
          </p:cNvPr>
          <p:cNvSpPr txBox="1"/>
          <p:nvPr/>
        </p:nvSpPr>
        <p:spPr>
          <a:xfrm>
            <a:off x="6502400" y="1774051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D90837-C626-4B86-8611-301F6A94F275}"/>
              </a:ext>
            </a:extLst>
          </p:cNvPr>
          <p:cNvSpPr txBox="1"/>
          <p:nvPr/>
        </p:nvSpPr>
        <p:spPr>
          <a:xfrm flipV="1">
            <a:off x="6451015" y="2105445"/>
            <a:ext cx="3111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D7D8A6B-ED8A-437C-887A-72D5F7FC7BBB}"/>
              </a:ext>
            </a:extLst>
          </p:cNvPr>
          <p:cNvSpPr txBox="1"/>
          <p:nvPr/>
        </p:nvSpPr>
        <p:spPr>
          <a:xfrm>
            <a:off x="6502400" y="2614651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7DD812D-7BD2-4873-A9F3-745B7AC0E698}"/>
              </a:ext>
            </a:extLst>
          </p:cNvPr>
          <p:cNvSpPr txBox="1"/>
          <p:nvPr/>
        </p:nvSpPr>
        <p:spPr>
          <a:xfrm>
            <a:off x="6483350" y="3032899"/>
            <a:ext cx="2413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54E3921-AD69-429E-B781-3318DA8802EE}"/>
              </a:ext>
            </a:extLst>
          </p:cNvPr>
          <p:cNvSpPr txBox="1"/>
          <p:nvPr/>
        </p:nvSpPr>
        <p:spPr>
          <a:xfrm>
            <a:off x="7566025" y="2187574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E740C9D-48DB-44F1-9763-658087DC8B02}"/>
              </a:ext>
            </a:extLst>
          </p:cNvPr>
          <p:cNvSpPr txBox="1"/>
          <p:nvPr/>
        </p:nvSpPr>
        <p:spPr>
          <a:xfrm>
            <a:off x="7588250" y="951301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rgbClr val="FF0000"/>
                </a:solidFill>
              </a:rPr>
              <a:t>*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84C9D4-0B03-48A0-81BA-E5CDE9BB8468}"/>
              </a:ext>
            </a:extLst>
          </p:cNvPr>
          <p:cNvSpPr txBox="1"/>
          <p:nvPr/>
        </p:nvSpPr>
        <p:spPr>
          <a:xfrm>
            <a:off x="1835151" y="4448949"/>
            <a:ext cx="2921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50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0CF7B03-8124-4BC8-8718-042193BC1555}"/>
              </a:ext>
            </a:extLst>
          </p:cNvPr>
          <p:cNvSpPr txBox="1"/>
          <p:nvPr/>
        </p:nvSpPr>
        <p:spPr>
          <a:xfrm>
            <a:off x="2387600" y="4146550"/>
            <a:ext cx="17018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/>
              <a:t>Rutinebeskrivelser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50B1A42-137B-4615-ACE5-938B104EBA74}"/>
              </a:ext>
            </a:extLst>
          </p:cNvPr>
          <p:cNvSpPr txBox="1"/>
          <p:nvPr/>
        </p:nvSpPr>
        <p:spPr>
          <a:xfrm>
            <a:off x="2387600" y="4622801"/>
            <a:ext cx="17018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/>
              <a:t>Brukerveiledninge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8C67B57-9A3F-4C09-A8A1-8EB1237452AB}"/>
              </a:ext>
            </a:extLst>
          </p:cNvPr>
          <p:cNvSpPr txBox="1"/>
          <p:nvPr/>
        </p:nvSpPr>
        <p:spPr>
          <a:xfrm>
            <a:off x="6413500" y="2170074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2237EBD-3F15-4FB7-B252-AD6D5E99231C}"/>
              </a:ext>
            </a:extLst>
          </p:cNvPr>
          <p:cNvSpPr txBox="1"/>
          <p:nvPr/>
        </p:nvSpPr>
        <p:spPr>
          <a:xfrm>
            <a:off x="6502400" y="3409602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DA1388D-1A12-46ED-AB43-1A09050BC444}"/>
              </a:ext>
            </a:extLst>
          </p:cNvPr>
          <p:cNvSpPr txBox="1"/>
          <p:nvPr/>
        </p:nvSpPr>
        <p:spPr>
          <a:xfrm>
            <a:off x="5416550" y="951301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B6BC642-9C36-4873-A73C-C48C064B4749}"/>
              </a:ext>
            </a:extLst>
          </p:cNvPr>
          <p:cNvSpPr txBox="1"/>
          <p:nvPr/>
        </p:nvSpPr>
        <p:spPr>
          <a:xfrm>
            <a:off x="5441000" y="1366407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BAB9A8E-719E-4313-A6A7-D659C27C89C0}"/>
              </a:ext>
            </a:extLst>
          </p:cNvPr>
          <p:cNvSpPr txBox="1"/>
          <p:nvPr/>
        </p:nvSpPr>
        <p:spPr>
          <a:xfrm>
            <a:off x="8643630" y="622947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3D3DEDC-FF59-4750-968C-E642554BF3BE}"/>
              </a:ext>
            </a:extLst>
          </p:cNvPr>
          <p:cNvSpPr txBox="1"/>
          <p:nvPr/>
        </p:nvSpPr>
        <p:spPr>
          <a:xfrm>
            <a:off x="3225799" y="1373958"/>
            <a:ext cx="22225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50">
                <a:solidFill>
                  <a:schemeClr val="accent1">
                    <a:lumMod val="50000"/>
                  </a:schemeClr>
                </a:solidFill>
              </a:rPr>
              <a:t>*</a:t>
            </a:r>
          </a:p>
        </p:txBody>
      </p:sp>
    </p:spTree>
    <p:extLst>
      <p:ext uri="{BB962C8B-B14F-4D97-AF65-F5344CB8AC3E}">
        <p14:creationId xmlns:p14="http://schemas.microsoft.com/office/powerpoint/2010/main" val="42152782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/>
      <p:bldP spid="20" grpId="0"/>
      <p:bldP spid="21" grpId="0"/>
      <p:bldP spid="22" grpId="0"/>
      <p:bldP spid="23" grpId="0"/>
      <p:bldP spid="24" grpId="0"/>
      <p:bldP spid="25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8F7920-C5F9-4309-80B4-E48BFE156F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044" y="205980"/>
            <a:ext cx="8552985" cy="646331"/>
          </a:xfrm>
        </p:spPr>
        <p:txBody>
          <a:bodyPr/>
          <a:lstStyle/>
          <a:p>
            <a:r>
              <a:rPr lang="nb-NO"/>
              <a:t>Eksempel på rutin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287C2E-3F21-48A6-9B91-209A93681D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60" t="1816"/>
          <a:stretch/>
        </p:blipFill>
        <p:spPr>
          <a:xfrm>
            <a:off x="584200" y="774700"/>
            <a:ext cx="7117401" cy="427355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E3E67EC3-CA70-4D4E-80B2-35C01E08874A}"/>
              </a:ext>
            </a:extLst>
          </p:cNvPr>
          <p:cNvSpPr/>
          <p:nvPr/>
        </p:nvSpPr>
        <p:spPr>
          <a:xfrm>
            <a:off x="3568701" y="4610101"/>
            <a:ext cx="279400" cy="177800"/>
          </a:xfrm>
          <a:prstGeom prst="ellipse">
            <a:avLst/>
          </a:prstGeom>
          <a:noFill/>
          <a:ln w="15875">
            <a:solidFill>
              <a:srgbClr val="FF0000"/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5CD93F9-3CC6-41E7-95DD-14FB78720CD6}"/>
              </a:ext>
            </a:extLst>
          </p:cNvPr>
          <p:cNvSpPr/>
          <p:nvPr/>
        </p:nvSpPr>
        <p:spPr>
          <a:xfrm>
            <a:off x="1423350" y="1708150"/>
            <a:ext cx="279400" cy="177800"/>
          </a:xfrm>
          <a:prstGeom prst="ellipse">
            <a:avLst/>
          </a:prstGeom>
          <a:noFill/>
          <a:ln w="15875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38B7495-06D3-4460-ADDA-8D27F189CE6E}"/>
              </a:ext>
            </a:extLst>
          </p:cNvPr>
          <p:cNvSpPr/>
          <p:nvPr/>
        </p:nvSpPr>
        <p:spPr>
          <a:xfrm>
            <a:off x="2331399" y="3378200"/>
            <a:ext cx="279400" cy="177800"/>
          </a:xfrm>
          <a:prstGeom prst="ellipse">
            <a:avLst/>
          </a:prstGeom>
          <a:noFill/>
          <a:ln w="15875">
            <a:solidFill>
              <a:schemeClr val="accent2">
                <a:lumMod val="60000"/>
                <a:lumOff val="40000"/>
              </a:schemeClr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350"/>
          </a:p>
        </p:txBody>
      </p:sp>
    </p:spTree>
    <p:extLst>
      <p:ext uri="{BB962C8B-B14F-4D97-AF65-F5344CB8AC3E}">
        <p14:creationId xmlns:p14="http://schemas.microsoft.com/office/powerpoint/2010/main" val="657352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D3706DB7-D589-483A-988C-EF803A425D9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083F270-11ED-4F08-A7D9-D3F9906BA1B0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1825</Words>
  <Application>Microsoft Office PowerPoint</Application>
  <PresentationFormat>On-screen Show (16:9)</PresentationFormat>
  <Paragraphs>333</Paragraphs>
  <Slides>28</Slides>
  <Notes>21</Notes>
  <HiddenSlides>2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Arial</vt:lpstr>
      <vt:lpstr>Calibri</vt:lpstr>
      <vt:lpstr>Poppins</vt:lpstr>
      <vt:lpstr>Wingdings</vt:lpstr>
      <vt:lpstr>Office-tema</vt:lpstr>
      <vt:lpstr>2_Office-tema</vt:lpstr>
      <vt:lpstr>8_Office-tema</vt:lpstr>
      <vt:lpstr>3_Office-tema</vt:lpstr>
      <vt:lpstr>think-cell Slide</vt:lpstr>
      <vt:lpstr>Prosjektøkonomi – Informasjonsmøte om opplæring</vt:lpstr>
      <vt:lpstr>Agenda</vt:lpstr>
      <vt:lpstr>Mål for møtet </vt:lpstr>
      <vt:lpstr>Hvorfor BOTT ØL Innføringen av nye økonomi- og lønnssystemer vil gi NTNU mange fordeler både i et fagperspektiv og brukerperspektiv</vt:lpstr>
      <vt:lpstr>PowerPoint Presentation</vt:lpstr>
      <vt:lpstr>Agenda</vt:lpstr>
      <vt:lpstr>Intro til PØ-prosessen: Roller</vt:lpstr>
      <vt:lpstr>PowerPoint Presentation</vt:lpstr>
      <vt:lpstr>Eksempel på rutine</vt:lpstr>
      <vt:lpstr>Rutinesteg</vt:lpstr>
      <vt:lpstr>Konvertering av prosjekter (BOA)</vt:lpstr>
      <vt:lpstr>Rydding løpende</vt:lpstr>
      <vt:lpstr>Cut-over plan</vt:lpstr>
      <vt:lpstr>Rapporter/verktøy etter 1.1.23</vt:lpstr>
      <vt:lpstr>Agenda</vt:lpstr>
      <vt:lpstr>PowerPoint Presentation</vt:lpstr>
      <vt:lpstr>PowerPoint Presentation</vt:lpstr>
      <vt:lpstr>BOTT ØL - Opplæringsside</vt:lpstr>
      <vt:lpstr>Egenlæring: BOTT ØL e-læring for rolle og prosess</vt:lpstr>
      <vt:lpstr>Gjennomføre BOTT e-læring</vt:lpstr>
      <vt:lpstr>NTNU benytter andelsmessig prinsipp</vt:lpstr>
      <vt:lpstr>Praktisk informasjon</vt:lpstr>
      <vt:lpstr>Spørsmål om opplæring</vt:lpstr>
      <vt:lpstr>Agenda</vt:lpstr>
      <vt:lpstr>Hvor kan du finne mer informasjon</vt:lpstr>
      <vt:lpstr>Spørsmål om opplæring?</vt:lpstr>
      <vt:lpstr>Agenda</vt:lpstr>
      <vt:lpstr>Spørsmål og svar - menti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Merete Aagesen</cp:lastModifiedBy>
  <cp:revision>2</cp:revision>
  <cp:lastPrinted>2022-09-20T11:48:59Z</cp:lastPrinted>
  <dcterms:created xsi:type="dcterms:W3CDTF">2022-03-25T07:38:29Z</dcterms:created>
  <dcterms:modified xsi:type="dcterms:W3CDTF">2022-09-21T11:35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